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Default Extension="wdp" ContentType="image/vnd.ms-photo"/>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handoutMasterIdLst>
    <p:handoutMasterId r:id="rId13"/>
  </p:handoutMasterIdLst>
  <p:sldIdLst>
    <p:sldId id="345" r:id="rId2"/>
    <p:sldId id="352" r:id="rId3"/>
    <p:sldId id="346" r:id="rId4"/>
    <p:sldId id="347" r:id="rId5"/>
    <p:sldId id="348" r:id="rId6"/>
    <p:sldId id="349" r:id="rId7"/>
    <p:sldId id="350" r:id="rId8"/>
    <p:sldId id="351" r:id="rId9"/>
    <p:sldId id="355" r:id="rId10"/>
    <p:sldId id="354" r:id="rId11"/>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403E3E"/>
    <a:srgbClr val="48CAD9"/>
    <a:srgbClr val="3DE0BC"/>
    <a:srgbClr val="105B97"/>
    <a:srgbClr val="F3BE21"/>
    <a:srgbClr val="7BA681"/>
    <a:srgbClr val="28402F"/>
    <a:srgbClr val="FF58D4"/>
    <a:srgbClr val="F4AD69"/>
    <a:srgbClr val="4984C5"/>
  </p:clrMru>
  <p:extLst>
    <p:ext uri="{E76CE94A-603C-4142-B9EB-6D1370010A27}">
      <p14:discardImageEditData xmlns="" xmlns:p14="http://schemas.microsoft.com/office/powerpoint/2010/main" val="0"/>
    </p:ext>
    <p:ext uri="{D31A062A-798A-4329-ABDD-BBA856620510}">
      <p14:defaultImageDpi xmlns=""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5306" autoAdjust="0"/>
    <p:restoredTop sz="94624" autoAdjust="0"/>
  </p:normalViewPr>
  <p:slideViewPr>
    <p:cSldViewPr snapToGrid="0" showGuides="1">
      <p:cViewPr>
        <p:scale>
          <a:sx n="75" d="100"/>
          <a:sy n="75" d="100"/>
        </p:scale>
        <p:origin x="-498" y="36"/>
      </p:cViewPr>
      <p:guideLst>
        <p:guide orient="horz" pos="2160"/>
        <p:guide pos="3840"/>
      </p:guideLst>
    </p:cSldViewPr>
  </p:slideViewPr>
  <p:notesTextViewPr>
    <p:cViewPr>
      <p:scale>
        <a:sx n="1" d="1"/>
        <a:sy n="1" d="1"/>
      </p:scale>
      <p:origin x="0" y="0"/>
    </p:cViewPr>
  </p:notesTextViewPr>
  <p:notesViewPr>
    <p:cSldViewPr snapToGrid="0" showGuides="1">
      <p:cViewPr varScale="1">
        <p:scale>
          <a:sx n="70" d="100"/>
          <a:sy n="70" d="100"/>
        </p:scale>
        <p:origin x="2416" y="176"/>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1833701D-4330-4EE7-9BF0-6431F8E2A6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a:extLst>
              <a:ext uri="{FF2B5EF4-FFF2-40B4-BE49-F238E27FC236}">
                <a16:creationId xmlns="" xmlns:a16="http://schemas.microsoft.com/office/drawing/2014/main" id="{22BCF998-A782-4C8A-8747-A2CA7D048A0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6C422E-181F-4E69-B889-4841EA1EE446}" type="datetimeFigureOut">
              <a:rPr lang="en-ID" smtClean="0"/>
              <a:pPr/>
              <a:t>22/07/2022</a:t>
            </a:fld>
            <a:endParaRPr lang="en-ID"/>
          </a:p>
        </p:txBody>
      </p:sp>
      <p:sp>
        <p:nvSpPr>
          <p:cNvPr id="4" name="Footer Placeholder 3">
            <a:extLst>
              <a:ext uri="{FF2B5EF4-FFF2-40B4-BE49-F238E27FC236}">
                <a16:creationId xmlns="" xmlns:a16="http://schemas.microsoft.com/office/drawing/2014/main" id="{D2E3B75D-11DD-4E29-B21A-3BEFD7843AD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5" name="Slide Number Placeholder 4">
            <a:extLst>
              <a:ext uri="{FF2B5EF4-FFF2-40B4-BE49-F238E27FC236}">
                <a16:creationId xmlns="" xmlns:a16="http://schemas.microsoft.com/office/drawing/2014/main" id="{2EF2A97F-C387-40BF-A80D-9B120372ED6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141A19D-7FE1-442D-97C1-2F2B47ADDD76}" type="slidenum">
              <a:rPr lang="en-ID" smtClean="0"/>
              <a:pPr/>
              <a:t>‹#›</a:t>
            </a:fld>
            <a:endParaRPr lang="en-ID"/>
          </a:p>
        </p:txBody>
      </p:sp>
    </p:spTree>
    <p:extLst>
      <p:ext uri="{BB962C8B-B14F-4D97-AF65-F5344CB8AC3E}">
        <p14:creationId xmlns="" xmlns:p14="http://schemas.microsoft.com/office/powerpoint/2010/main" val="41867631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0B7041-6594-4BE2-8703-78B4E00C91E5}" type="datetimeFigureOut">
              <a:rPr lang="en-ID" smtClean="0"/>
              <a:pPr/>
              <a:t>22/07/2022</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CE837E-594B-4F0F-92F5-F20D4296AC5C}" type="slidenum">
              <a:rPr lang="en-ID" smtClean="0"/>
              <a:pPr/>
              <a:t>‹#›</a:t>
            </a:fld>
            <a:endParaRPr lang="en-ID"/>
          </a:p>
        </p:txBody>
      </p:sp>
    </p:spTree>
    <p:extLst>
      <p:ext uri="{BB962C8B-B14F-4D97-AF65-F5344CB8AC3E}">
        <p14:creationId xmlns="" xmlns:p14="http://schemas.microsoft.com/office/powerpoint/2010/main" val="24183288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charles_forerunner?utm_source=unsplash&amp;utm_medium=referral&amp;utm_content=creditCopyText"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unsplash.com/s/photos/business?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hellokellybrito?utm_source=unsplash&amp;utm_medium=referral&amp;utm_content=creditCopyText"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unsplash.com/s/photos/note?utm_source=unsplash&amp;utm_medium=referral&amp;utm_content=creditCopyText"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unsplash.com/@flo_?utm_source=unsplash&amp;utm_medium=referral&amp;utm_content=creditCopyText"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unsplash.com/s/photos/company?utm_source=unsplash&amp;utm_medium=referral&amp;utm_content=creditCopyText"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unsplash.com/@mimithian?utm_source=unsplash&amp;utm_medium=referral&amp;utm_content=creditCopyText"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unsplash.com/s/photos/office?utm_source=unsplash&amp;utm_medium=referral&amp;utm_content=creditCopyText"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unsplash.com/@campaign_creators?utm_source=unsplash&amp;utm_medium=referral&amp;utm_content=creditCopyText"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unsplash.com/s/photos/marketing?utm_source=unsplash&amp;utm_medium=referral&amp;utm_content=creditCopyText"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unsplash.com/@austindistel?utm_source=unsplash&amp;utm_medium=referral&amp;utm_content=creditCopyText"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unsplash.com/s/photos/target-market?utm_source=unsplash&amp;utm_medium=referral&amp;utm_content=creditCopyText"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unsplash.com/@gabriellefaithhenderson?utm_source=unsplash&amp;utm_medium=referral&amp;utm_content=creditCopyText"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unsplash.com/s/photos/strategy?utm_source=unsplash&amp;utm_medium=referral&amp;utm_content=creditCopyText"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unsplash.com/@wildbook?utm_source=unsplash&amp;utm_medium=referral&amp;utm_content=creditCopyText"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Charles </a:t>
            </a:r>
            <a:r>
              <a:rPr lang="en-ID" sz="1200" b="0" i="0" u="none" strike="noStrike" kern="1200" dirty="0" err="1">
                <a:solidFill>
                  <a:schemeClr val="tx1"/>
                </a:solidFill>
                <a:effectLst/>
                <a:latin typeface="+mn-lt"/>
                <a:ea typeface="+mn-ea"/>
                <a:cs typeface="+mn-cs"/>
                <a:hlinkClick r:id="rId3"/>
              </a:rPr>
              <a:t>Forerunner</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a:p>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1</a:t>
            </a:fld>
            <a:endParaRPr lang="en-ID"/>
          </a:p>
        </p:txBody>
      </p:sp>
    </p:spTree>
    <p:extLst>
      <p:ext uri="{BB962C8B-B14F-4D97-AF65-F5344CB8AC3E}">
        <p14:creationId xmlns="" xmlns:p14="http://schemas.microsoft.com/office/powerpoint/2010/main" val="30212809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2</a:t>
            </a:fld>
            <a:endParaRPr lang="en-ID"/>
          </a:p>
        </p:txBody>
      </p:sp>
    </p:spTree>
    <p:extLst>
      <p:ext uri="{BB962C8B-B14F-4D97-AF65-F5344CB8AC3E}">
        <p14:creationId xmlns="" xmlns:p14="http://schemas.microsoft.com/office/powerpoint/2010/main" val="40154456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J. Kelly </a:t>
            </a:r>
            <a:r>
              <a:rPr lang="en-ID" sz="1200" b="0" i="0" u="none" strike="noStrike" kern="1200" dirty="0" err="1">
                <a:solidFill>
                  <a:schemeClr val="tx1"/>
                </a:solidFill>
                <a:effectLst/>
                <a:latin typeface="+mn-lt"/>
                <a:ea typeface="+mn-ea"/>
                <a:cs typeface="+mn-cs"/>
                <a:hlinkClick r:id="rId3"/>
              </a:rPr>
              <a:t>Brit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3</a:t>
            </a:fld>
            <a:endParaRPr lang="en-ID"/>
          </a:p>
        </p:txBody>
      </p:sp>
    </p:spTree>
    <p:extLst>
      <p:ext uri="{BB962C8B-B14F-4D97-AF65-F5344CB8AC3E}">
        <p14:creationId xmlns="" xmlns:p14="http://schemas.microsoft.com/office/powerpoint/2010/main" val="1423970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Floriane</a:t>
            </a:r>
            <a:r>
              <a:rPr lang="en-ID" sz="1200" b="0" i="0" u="none" strike="noStrike" kern="1200" dirty="0">
                <a:solidFill>
                  <a:schemeClr val="tx1"/>
                </a:solidFill>
                <a:effectLst/>
                <a:latin typeface="+mn-lt"/>
                <a:ea typeface="+mn-ea"/>
                <a:cs typeface="+mn-cs"/>
                <a:hlinkClick r:id="rId3"/>
              </a:rPr>
              <a:t> </a:t>
            </a:r>
            <a:r>
              <a:rPr lang="en-ID" sz="1200" b="0" i="0" u="none" strike="noStrike" kern="1200" dirty="0" err="1">
                <a:solidFill>
                  <a:schemeClr val="tx1"/>
                </a:solidFill>
                <a:effectLst/>
                <a:latin typeface="+mn-lt"/>
                <a:ea typeface="+mn-ea"/>
                <a:cs typeface="+mn-cs"/>
                <a:hlinkClick r:id="rId3"/>
              </a:rPr>
              <a:t>Vita</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4</a:t>
            </a:fld>
            <a:endParaRPr lang="en-ID"/>
          </a:p>
        </p:txBody>
      </p:sp>
    </p:spTree>
    <p:extLst>
      <p:ext uri="{BB962C8B-B14F-4D97-AF65-F5344CB8AC3E}">
        <p14:creationId xmlns="" xmlns:p14="http://schemas.microsoft.com/office/powerpoint/2010/main" val="7591289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Mimi </a:t>
            </a:r>
            <a:r>
              <a:rPr lang="en-ID" sz="1200" b="0" i="0" u="none" strike="noStrike" kern="1200" dirty="0" err="1">
                <a:solidFill>
                  <a:schemeClr val="tx1"/>
                </a:solidFill>
                <a:effectLst/>
                <a:latin typeface="+mn-lt"/>
                <a:ea typeface="+mn-ea"/>
                <a:cs typeface="+mn-cs"/>
                <a:hlinkClick r:id="rId3"/>
              </a:rPr>
              <a:t>Thian</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err="1">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5</a:t>
            </a:fld>
            <a:endParaRPr lang="en-ID"/>
          </a:p>
        </p:txBody>
      </p:sp>
    </p:spTree>
    <p:extLst>
      <p:ext uri="{BB962C8B-B14F-4D97-AF65-F5344CB8AC3E}">
        <p14:creationId xmlns="" xmlns:p14="http://schemas.microsoft.com/office/powerpoint/2010/main" val="2597729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Campaign </a:t>
            </a:r>
            <a:r>
              <a:rPr lang="en-ID" sz="1200" b="0" i="0" u="none" strike="noStrike" kern="1200" dirty="0" err="1">
                <a:solidFill>
                  <a:schemeClr val="tx1"/>
                </a:solidFill>
                <a:effectLst/>
                <a:latin typeface="+mn-lt"/>
                <a:ea typeface="+mn-ea"/>
                <a:cs typeface="+mn-cs"/>
                <a:hlinkClick r:id="rId3"/>
              </a:rPr>
              <a:t>Creators</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6</a:t>
            </a:fld>
            <a:endParaRPr lang="en-ID"/>
          </a:p>
        </p:txBody>
      </p:sp>
    </p:spTree>
    <p:extLst>
      <p:ext uri="{BB962C8B-B14F-4D97-AF65-F5344CB8AC3E}">
        <p14:creationId xmlns="" xmlns:p14="http://schemas.microsoft.com/office/powerpoint/2010/main" val="14927984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Austin </a:t>
            </a:r>
            <a:r>
              <a:rPr lang="en-ID" sz="1200" b="0" i="0" u="none" strike="noStrike" kern="1200" dirty="0" err="1">
                <a:solidFill>
                  <a:schemeClr val="tx1"/>
                </a:solidFill>
                <a:effectLst/>
                <a:latin typeface="+mn-lt"/>
                <a:ea typeface="+mn-ea"/>
                <a:cs typeface="+mn-cs"/>
                <a:hlinkClick r:id="rId3"/>
              </a:rPr>
              <a:t>Distel</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7</a:t>
            </a:fld>
            <a:endParaRPr lang="en-ID"/>
          </a:p>
        </p:txBody>
      </p:sp>
    </p:spTree>
    <p:extLst>
      <p:ext uri="{BB962C8B-B14F-4D97-AF65-F5344CB8AC3E}">
        <p14:creationId xmlns="" xmlns:p14="http://schemas.microsoft.com/office/powerpoint/2010/main" val="3820794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Gabrielle </a:t>
            </a:r>
            <a:r>
              <a:rPr lang="en-ID" sz="1200" b="0" i="0" u="none" strike="noStrike" kern="1200" dirty="0" err="1">
                <a:solidFill>
                  <a:schemeClr val="tx1"/>
                </a:solidFill>
                <a:effectLst/>
                <a:latin typeface="+mn-lt"/>
                <a:ea typeface="+mn-ea"/>
                <a:cs typeface="+mn-cs"/>
                <a:hlinkClick r:id="rId3"/>
              </a:rPr>
              <a:t>Henderson</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8</a:t>
            </a:fld>
            <a:endParaRPr lang="en-ID"/>
          </a:p>
        </p:txBody>
      </p:sp>
    </p:spTree>
    <p:extLst>
      <p:ext uri="{BB962C8B-B14F-4D97-AF65-F5344CB8AC3E}">
        <p14:creationId xmlns="" xmlns:p14="http://schemas.microsoft.com/office/powerpoint/2010/main" val="1504511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Dmitry </a:t>
            </a:r>
            <a:r>
              <a:rPr lang="en-ID" sz="1200" b="0" i="0" u="none" strike="noStrike" kern="1200" dirty="0" err="1">
                <a:solidFill>
                  <a:schemeClr val="tx1"/>
                </a:solidFill>
                <a:effectLst/>
                <a:latin typeface="+mn-lt"/>
                <a:ea typeface="+mn-ea"/>
                <a:cs typeface="+mn-cs"/>
                <a:hlinkClick r:id="rId3"/>
              </a:rPr>
              <a:t>Demidko</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a:p>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pPr/>
              <a:t>9</a:t>
            </a:fld>
            <a:endParaRPr lang="en-ID"/>
          </a:p>
        </p:txBody>
      </p:sp>
    </p:spTree>
    <p:extLst>
      <p:ext uri="{BB962C8B-B14F-4D97-AF65-F5344CB8AC3E}">
        <p14:creationId xmlns="" xmlns:p14="http://schemas.microsoft.com/office/powerpoint/2010/main" val="40154456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76D4F50A-5055-49DA-BB8F-2562F5049A44}"/>
              </a:ext>
            </a:extLst>
          </p:cNvPr>
          <p:cNvGraphicFramePr>
            <a:graphicFrameLocks noChangeAspect="1"/>
          </p:cNvGraphicFramePr>
          <p:nvPr userDrawn="1">
            <p:custDataLst>
              <p:tags r:id="rId2"/>
            </p:custDataLst>
            <p:extLst>
              <p:ext uri="{D42A27DB-BD31-4B8C-83A1-F6EECF244321}">
                <p14:modId xmlns="" xmlns:p14="http://schemas.microsoft.com/office/powerpoint/2010/main" val="4270141582"/>
              </p:ext>
            </p:extLst>
          </p:nvPr>
        </p:nvGraphicFramePr>
        <p:xfrm>
          <a:off x="1588" y="1588"/>
          <a:ext cx="1588" cy="1588"/>
        </p:xfrm>
        <a:graphic>
          <a:graphicData uri="http://schemas.openxmlformats.org/presentationml/2006/ole">
            <p:oleObj spid="_x0000_s2054" name="think-cell Slide" r:id="rId5" imgW="360" imgH="360" progId="">
              <p:embed/>
            </p:oleObj>
          </a:graphicData>
        </a:graphic>
      </p:graphicFrame>
      <p:sp>
        <p:nvSpPr>
          <p:cNvPr id="4" name="Rectangle 3" hidden="1">
            <a:extLst>
              <a:ext uri="{FF2B5EF4-FFF2-40B4-BE49-F238E27FC236}">
                <a16:creationId xmlns="" xmlns:a16="http://schemas.microsoft.com/office/drawing/2014/main" id="{2E967E64-14E7-49F0-BB62-7D7FC2D6111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 xmlns:p14="http://schemas.microsoft.com/office/powerpoint/2010/main" val="1731414301"/>
      </p:ext>
    </p:extLst>
  </p:cSld>
  <p:clrMapOvr>
    <a:masterClrMapping/>
  </p:clrMapOvr>
  <p:extLst>
    <p:ext uri="{DCECCB84-F9BA-43D5-87BE-67443E8EF086}">
      <p15:sldGuideLst xmlns=""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08D9FE51-1EF0-4EE1-BFA5-121486003670}"/>
              </a:ext>
            </a:extLst>
          </p:cNvPr>
          <p:cNvGraphicFramePr>
            <a:graphicFrameLocks noChangeAspect="1"/>
          </p:cNvGraphicFramePr>
          <p:nvPr userDrawn="1">
            <p:custDataLst>
              <p:tags r:id="rId2"/>
            </p:custDataLst>
            <p:extLst>
              <p:ext uri="{D42A27DB-BD31-4B8C-83A1-F6EECF244321}">
                <p14:modId xmlns="" xmlns:p14="http://schemas.microsoft.com/office/powerpoint/2010/main" val="11435023"/>
              </p:ext>
            </p:extLst>
          </p:nvPr>
        </p:nvGraphicFramePr>
        <p:xfrm>
          <a:off x="1588" y="1588"/>
          <a:ext cx="1588" cy="1588"/>
        </p:xfrm>
        <a:graphic>
          <a:graphicData uri="http://schemas.openxmlformats.org/presentationml/2006/ole">
            <p:oleObj spid="_x0000_s9222" name="think-cell Slide" r:id="rId5" imgW="360" imgH="360" progId="">
              <p:embed/>
            </p:oleObj>
          </a:graphicData>
        </a:graphic>
      </p:graphicFrame>
      <p:sp>
        <p:nvSpPr>
          <p:cNvPr id="5" name="Rectangle 4" hidden="1">
            <a:extLst>
              <a:ext uri="{FF2B5EF4-FFF2-40B4-BE49-F238E27FC236}">
                <a16:creationId xmlns="" xmlns:a16="http://schemas.microsoft.com/office/drawing/2014/main" id="{98A80063-B2A1-44A4-9477-86F03686A88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TextBox 9">
            <a:extLst>
              <a:ext uri="{FF2B5EF4-FFF2-40B4-BE49-F238E27FC236}">
                <a16:creationId xmlns="" xmlns:a16="http://schemas.microsoft.com/office/drawing/2014/main" id="{A3427E83-516A-4461-8E80-E9AA63529918}"/>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 xmlns:a16="http://schemas.microsoft.com/office/drawing/2014/main" id="{6C5D77DB-23A3-4ADD-BEE5-8E632CF9FCCC}"/>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 xmlns:p14="http://schemas.microsoft.com/office/powerpoint/2010/main" val="1775104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01AAA21-F482-412E-A625-049E0606D673}"/>
              </a:ext>
            </a:extLst>
          </p:cNvPr>
          <p:cNvGraphicFramePr>
            <a:graphicFrameLocks noChangeAspect="1"/>
          </p:cNvGraphicFramePr>
          <p:nvPr userDrawn="1">
            <p:custDataLst>
              <p:tags r:id="rId2"/>
            </p:custDataLst>
            <p:extLst>
              <p:ext uri="{D42A27DB-BD31-4B8C-83A1-F6EECF244321}">
                <p14:modId xmlns="" xmlns:p14="http://schemas.microsoft.com/office/powerpoint/2010/main" val="4260471775"/>
              </p:ext>
            </p:extLst>
          </p:nvPr>
        </p:nvGraphicFramePr>
        <p:xfrm>
          <a:off x="1588" y="1588"/>
          <a:ext cx="1588" cy="1588"/>
        </p:xfrm>
        <a:graphic>
          <a:graphicData uri="http://schemas.openxmlformats.org/presentationml/2006/ole">
            <p:oleObj spid="_x0000_s10246" name="think-cell Slide" r:id="rId5" imgW="360" imgH="360" progId="">
              <p:embed/>
            </p:oleObj>
          </a:graphicData>
        </a:graphic>
      </p:graphicFrame>
      <p:sp>
        <p:nvSpPr>
          <p:cNvPr id="4" name="Rectangle 3" hidden="1">
            <a:extLst>
              <a:ext uri="{FF2B5EF4-FFF2-40B4-BE49-F238E27FC236}">
                <a16:creationId xmlns="" xmlns:a16="http://schemas.microsoft.com/office/drawing/2014/main" id="{6F1AF5EF-56D3-45E3-AFBB-0E2A5080DB3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TextBox 5">
            <a:extLst>
              <a:ext uri="{FF2B5EF4-FFF2-40B4-BE49-F238E27FC236}">
                <a16:creationId xmlns="" xmlns:a16="http://schemas.microsoft.com/office/drawing/2014/main" id="{ED108A02-98E2-4FE5-AAB5-1400BBFC8A6F}"/>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 xmlns:a16="http://schemas.microsoft.com/office/drawing/2014/main" id="{FBB9C5FE-0FFA-468C-9824-40FB6DD999A6}"/>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 xmlns:p14="http://schemas.microsoft.com/office/powerpoint/2010/main" val="18336880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541B1A9E-F8FD-4983-8B3D-23700D97010C}"/>
              </a:ext>
            </a:extLst>
          </p:cNvPr>
          <p:cNvGraphicFramePr>
            <a:graphicFrameLocks noChangeAspect="1"/>
          </p:cNvGraphicFramePr>
          <p:nvPr userDrawn="1">
            <p:custDataLst>
              <p:tags r:id="rId2"/>
            </p:custDataLst>
            <p:extLst>
              <p:ext uri="{D42A27DB-BD31-4B8C-83A1-F6EECF244321}">
                <p14:modId xmlns="" xmlns:p14="http://schemas.microsoft.com/office/powerpoint/2010/main" val="3489227141"/>
              </p:ext>
            </p:extLst>
          </p:nvPr>
        </p:nvGraphicFramePr>
        <p:xfrm>
          <a:off x="1588" y="1588"/>
          <a:ext cx="1588" cy="1588"/>
        </p:xfrm>
        <a:graphic>
          <a:graphicData uri="http://schemas.openxmlformats.org/presentationml/2006/ole">
            <p:oleObj spid="_x0000_s11270" name="think-cell Slide" r:id="rId5" imgW="360" imgH="360" progId="">
              <p:embed/>
            </p:oleObj>
          </a:graphicData>
        </a:graphic>
      </p:graphicFrame>
      <p:sp>
        <p:nvSpPr>
          <p:cNvPr id="4" name="Rectangle 3" hidden="1">
            <a:extLst>
              <a:ext uri="{FF2B5EF4-FFF2-40B4-BE49-F238E27FC236}">
                <a16:creationId xmlns="" xmlns:a16="http://schemas.microsoft.com/office/drawing/2014/main" id="{571763D3-5CD9-4A81-8364-B592C5D0AC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Vertical Title 1">
            <a:extLst>
              <a:ext uri="{FF2B5EF4-FFF2-40B4-BE49-F238E27FC236}">
                <a16:creationId xmlns=""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9" name="TextBox 8">
            <a:extLst>
              <a:ext uri="{FF2B5EF4-FFF2-40B4-BE49-F238E27FC236}">
                <a16:creationId xmlns="" xmlns:a16="http://schemas.microsoft.com/office/drawing/2014/main" id="{EAF74A31-AA1D-418D-B416-1F4772B5A2BF}"/>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 xmlns:a16="http://schemas.microsoft.com/office/drawing/2014/main" id="{CA53B6F7-5CF8-4631-BF78-0D404A1C35A8}"/>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 xmlns:p14="http://schemas.microsoft.com/office/powerpoint/2010/main" val="3947590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7F35AA68-F172-4A78-B889-683911552A47}"/>
              </a:ext>
            </a:extLst>
          </p:cNvPr>
          <p:cNvGraphicFramePr>
            <a:graphicFrameLocks noChangeAspect="1"/>
          </p:cNvGraphicFramePr>
          <p:nvPr userDrawn="1">
            <p:custDataLst>
              <p:tags r:id="rId2"/>
            </p:custDataLst>
            <p:extLst>
              <p:ext uri="{D42A27DB-BD31-4B8C-83A1-F6EECF244321}">
                <p14:modId xmlns="" xmlns:p14="http://schemas.microsoft.com/office/powerpoint/2010/main" val="1631116496"/>
              </p:ext>
            </p:extLst>
          </p:nvPr>
        </p:nvGraphicFramePr>
        <p:xfrm>
          <a:off x="1588" y="1588"/>
          <a:ext cx="1588" cy="1588"/>
        </p:xfrm>
        <a:graphic>
          <a:graphicData uri="http://schemas.openxmlformats.org/presentationml/2006/ole">
            <p:oleObj spid="_x0000_s3078" name="think-cell Slide" r:id="rId5" imgW="360" imgH="360" progId="">
              <p:embed/>
            </p:oleObj>
          </a:graphicData>
        </a:graphic>
      </p:graphicFrame>
      <p:sp>
        <p:nvSpPr>
          <p:cNvPr id="4" name="Rectangle 3" hidden="1">
            <a:extLst>
              <a:ext uri="{FF2B5EF4-FFF2-40B4-BE49-F238E27FC236}">
                <a16:creationId xmlns="" xmlns:a16="http://schemas.microsoft.com/office/drawing/2014/main" id="{0E72F155-0712-4AE2-8211-2F0289E5D92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TextBox 6">
            <a:extLst>
              <a:ext uri="{FF2B5EF4-FFF2-40B4-BE49-F238E27FC236}">
                <a16:creationId xmlns="" xmlns:a16="http://schemas.microsoft.com/office/drawing/2014/main" id="{2881859F-6E04-4E0C-8AFF-FDA759EFDF71}"/>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 xmlns:a16="http://schemas.microsoft.com/office/drawing/2014/main" id="{C0FA5208-0DCA-40B3-B82C-C58053861BFF}"/>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 xmlns:p14="http://schemas.microsoft.com/office/powerpoint/2010/main" val="30937716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C3D05BBD-75A3-45A1-A625-FA5B13A1F83F}"/>
              </a:ext>
            </a:extLst>
          </p:cNvPr>
          <p:cNvGraphicFramePr>
            <a:graphicFrameLocks noChangeAspect="1"/>
          </p:cNvGraphicFramePr>
          <p:nvPr userDrawn="1">
            <p:custDataLst>
              <p:tags r:id="rId2"/>
            </p:custDataLst>
            <p:extLst>
              <p:ext uri="{D42A27DB-BD31-4B8C-83A1-F6EECF244321}">
                <p14:modId xmlns="" xmlns:p14="http://schemas.microsoft.com/office/powerpoint/2010/main" val="965526411"/>
              </p:ext>
            </p:extLst>
          </p:nvPr>
        </p:nvGraphicFramePr>
        <p:xfrm>
          <a:off x="1588" y="1588"/>
          <a:ext cx="1588" cy="1588"/>
        </p:xfrm>
        <a:graphic>
          <a:graphicData uri="http://schemas.openxmlformats.org/presentationml/2006/ole">
            <p:oleObj spid="_x0000_s4102" name="think-cell Slide" r:id="rId5" imgW="360" imgH="360" progId="">
              <p:embed/>
            </p:oleObj>
          </a:graphicData>
        </a:graphic>
      </p:graphicFrame>
      <p:sp>
        <p:nvSpPr>
          <p:cNvPr id="4" name="Rectangle 3" hidden="1">
            <a:extLst>
              <a:ext uri="{FF2B5EF4-FFF2-40B4-BE49-F238E27FC236}">
                <a16:creationId xmlns="" xmlns:a16="http://schemas.microsoft.com/office/drawing/2014/main" id="{FF088084-F7F4-4ED5-9E51-297D0641542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 xmlns:p14="http://schemas.microsoft.com/office/powerpoint/2010/main" val="2991985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534F2D28-F53C-4EB4-B9CE-CDE75BBCF34F}"/>
              </a:ext>
            </a:extLst>
          </p:cNvPr>
          <p:cNvGraphicFramePr>
            <a:graphicFrameLocks noChangeAspect="1"/>
          </p:cNvGraphicFramePr>
          <p:nvPr userDrawn="1">
            <p:custDataLst>
              <p:tags r:id="rId2"/>
            </p:custDataLst>
            <p:extLst>
              <p:ext uri="{D42A27DB-BD31-4B8C-83A1-F6EECF244321}">
                <p14:modId xmlns="" xmlns:p14="http://schemas.microsoft.com/office/powerpoint/2010/main" val="1060230513"/>
              </p:ext>
            </p:extLst>
          </p:nvPr>
        </p:nvGraphicFramePr>
        <p:xfrm>
          <a:off x="1588" y="1588"/>
          <a:ext cx="1588" cy="1588"/>
        </p:xfrm>
        <a:graphic>
          <a:graphicData uri="http://schemas.openxmlformats.org/presentationml/2006/ole">
            <p:oleObj spid="_x0000_s5126" name="think-cell Slide" r:id="rId5" imgW="360" imgH="360" progId="">
              <p:embed/>
            </p:oleObj>
          </a:graphicData>
        </a:graphic>
      </p:graphicFrame>
      <p:sp>
        <p:nvSpPr>
          <p:cNvPr id="5" name="Rectangle 4" hidden="1">
            <a:extLst>
              <a:ext uri="{FF2B5EF4-FFF2-40B4-BE49-F238E27FC236}">
                <a16:creationId xmlns="" xmlns:a16="http://schemas.microsoft.com/office/drawing/2014/main" id="{DF8B75C5-941E-49C8-8273-E7412CD2EFD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TextBox 9">
            <a:extLst>
              <a:ext uri="{FF2B5EF4-FFF2-40B4-BE49-F238E27FC236}">
                <a16:creationId xmlns="" xmlns:a16="http://schemas.microsoft.com/office/drawing/2014/main" id="{1D3C6890-E0A1-4B08-A908-C883680C3F5A}"/>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 xmlns:a16="http://schemas.microsoft.com/office/drawing/2014/main" id="{9E953DA1-C1C1-4EAB-B7EA-BAD3ACB4E13F}"/>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 xmlns:p14="http://schemas.microsoft.com/office/powerpoint/2010/main" val="3804770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BC4B0497-6A5C-424D-AAA0-E56311C705FF}"/>
              </a:ext>
            </a:extLst>
          </p:cNvPr>
          <p:cNvGraphicFramePr>
            <a:graphicFrameLocks noChangeAspect="1"/>
          </p:cNvGraphicFramePr>
          <p:nvPr userDrawn="1">
            <p:custDataLst>
              <p:tags r:id="rId2"/>
            </p:custDataLst>
            <p:extLst>
              <p:ext uri="{D42A27DB-BD31-4B8C-83A1-F6EECF244321}">
                <p14:modId xmlns="" xmlns:p14="http://schemas.microsoft.com/office/powerpoint/2010/main" val="3152938200"/>
              </p:ext>
            </p:extLst>
          </p:nvPr>
        </p:nvGraphicFramePr>
        <p:xfrm>
          <a:off x="1588" y="1588"/>
          <a:ext cx="1588" cy="1588"/>
        </p:xfrm>
        <a:graphic>
          <a:graphicData uri="http://schemas.openxmlformats.org/presentationml/2006/ole">
            <p:oleObj spid="_x0000_s6150" name="think-cell Slide" r:id="rId5" imgW="360" imgH="360" progId="">
              <p:embed/>
            </p:oleObj>
          </a:graphicData>
        </a:graphic>
      </p:graphicFrame>
      <p:sp>
        <p:nvSpPr>
          <p:cNvPr id="7" name="Rectangle 6" hidden="1">
            <a:extLst>
              <a:ext uri="{FF2B5EF4-FFF2-40B4-BE49-F238E27FC236}">
                <a16:creationId xmlns="" xmlns:a16="http://schemas.microsoft.com/office/drawing/2014/main" id="{99185E84-E0D0-4923-8F1C-101A943E863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2" name="TextBox 11">
            <a:extLst>
              <a:ext uri="{FF2B5EF4-FFF2-40B4-BE49-F238E27FC236}">
                <a16:creationId xmlns="" xmlns:a16="http://schemas.microsoft.com/office/drawing/2014/main" id="{E4AF168C-8EF0-4E5D-81FF-2CA7495E2898}"/>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 xmlns:a16="http://schemas.microsoft.com/office/drawing/2014/main" id="{D2C22806-EF4E-452C-BC54-30966B5F5F55}"/>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 xmlns:p14="http://schemas.microsoft.com/office/powerpoint/2010/main" val="2543528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469F89DD-CA58-45CD-90F9-4278575A1B00}"/>
              </a:ext>
            </a:extLst>
          </p:cNvPr>
          <p:cNvGraphicFramePr>
            <a:graphicFrameLocks noChangeAspect="1"/>
          </p:cNvGraphicFramePr>
          <p:nvPr userDrawn="1">
            <p:custDataLst>
              <p:tags r:id="rId2"/>
            </p:custDataLst>
            <p:extLst>
              <p:ext uri="{D42A27DB-BD31-4B8C-83A1-F6EECF244321}">
                <p14:modId xmlns="" xmlns:p14="http://schemas.microsoft.com/office/powerpoint/2010/main" val="524852714"/>
              </p:ext>
            </p:extLst>
          </p:nvPr>
        </p:nvGraphicFramePr>
        <p:xfrm>
          <a:off x="1588" y="1588"/>
          <a:ext cx="1588" cy="1588"/>
        </p:xfrm>
        <a:graphic>
          <a:graphicData uri="http://schemas.openxmlformats.org/presentationml/2006/ole">
            <p:oleObj spid="_x0000_s7174" name="think-cell Slide" r:id="rId5" imgW="360" imgH="360" progId="">
              <p:embed/>
            </p:oleObj>
          </a:graphicData>
        </a:graphic>
      </p:graphicFrame>
      <p:sp>
        <p:nvSpPr>
          <p:cNvPr id="3" name="Rectangle 2" hidden="1">
            <a:extLst>
              <a:ext uri="{FF2B5EF4-FFF2-40B4-BE49-F238E27FC236}">
                <a16:creationId xmlns="" xmlns:a16="http://schemas.microsoft.com/office/drawing/2014/main" id="{3EA4E1EA-D881-409B-8C04-1257A8D74E5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8" name="TextBox 7">
            <a:extLst>
              <a:ext uri="{FF2B5EF4-FFF2-40B4-BE49-F238E27FC236}">
                <a16:creationId xmlns="" xmlns:a16="http://schemas.microsoft.com/office/drawing/2014/main" id="{FA239CBC-F8C8-4181-BD3C-8EF8AC61B31F}"/>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 xmlns:a16="http://schemas.microsoft.com/office/drawing/2014/main" id="{E658CED2-80CD-4B6D-B2E1-7B7DC14E4136}"/>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 xmlns:p14="http://schemas.microsoft.com/office/powerpoint/2010/main" val="3367220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accent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 xmlns:a16="http://schemas.microsoft.com/office/drawing/2014/main" id="{B7A54D6B-AD1F-4762-AC29-5F84F21768EB}"/>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5" name="TextBox 4">
            <a:extLst>
              <a:ext uri="{FF2B5EF4-FFF2-40B4-BE49-F238E27FC236}">
                <a16:creationId xmlns="" xmlns:a16="http://schemas.microsoft.com/office/drawing/2014/main" id="{0817EBF4-C2AF-4CBA-8A4F-7BDB1A77B991}"/>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 xmlns:p14="http://schemas.microsoft.com/office/powerpoint/2010/main" val="7251880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175396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C7CBAD09-A2C3-40B0-A715-021BD861983C}"/>
              </a:ext>
            </a:extLst>
          </p:cNvPr>
          <p:cNvGraphicFramePr>
            <a:graphicFrameLocks noChangeAspect="1"/>
          </p:cNvGraphicFramePr>
          <p:nvPr userDrawn="1">
            <p:custDataLst>
              <p:tags r:id="rId2"/>
            </p:custDataLst>
            <p:extLst>
              <p:ext uri="{D42A27DB-BD31-4B8C-83A1-F6EECF244321}">
                <p14:modId xmlns="" xmlns:p14="http://schemas.microsoft.com/office/powerpoint/2010/main" val="2916755385"/>
              </p:ext>
            </p:extLst>
          </p:nvPr>
        </p:nvGraphicFramePr>
        <p:xfrm>
          <a:off x="1588" y="1588"/>
          <a:ext cx="1588" cy="1588"/>
        </p:xfrm>
        <a:graphic>
          <a:graphicData uri="http://schemas.openxmlformats.org/presentationml/2006/ole">
            <p:oleObj spid="_x0000_s8198" name="think-cell Slide" r:id="rId5" imgW="360" imgH="360" progId="">
              <p:embed/>
            </p:oleObj>
          </a:graphicData>
        </a:graphic>
      </p:graphicFrame>
      <p:sp>
        <p:nvSpPr>
          <p:cNvPr id="5" name="Rectangle 4" hidden="1">
            <a:extLst>
              <a:ext uri="{FF2B5EF4-FFF2-40B4-BE49-F238E27FC236}">
                <a16:creationId xmlns="" xmlns:a16="http://schemas.microsoft.com/office/drawing/2014/main" id="{72723C81-9794-4AE4-8C4E-C87F3BBF3CA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TextBox 9">
            <a:extLst>
              <a:ext uri="{FF2B5EF4-FFF2-40B4-BE49-F238E27FC236}">
                <a16:creationId xmlns="" xmlns:a16="http://schemas.microsoft.com/office/drawing/2014/main" id="{280FDC3B-FF54-45FD-8337-F815F6726BBD}"/>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bg1"/>
                </a:solidFill>
                <a:latin typeface="Segoe UI" panose="020B0502040204020203" pitchFamily="34" charset="0"/>
                <a:cs typeface="Segoe UI" panose="020B0502040204020203" pitchFamily="34" charset="0"/>
              </a:rPr>
              <a:pPr algn="ctr"/>
              <a:t>‹#›</a:t>
            </a:fld>
            <a:endParaRPr lang="en-US" sz="1100" b="1"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 xmlns:a16="http://schemas.microsoft.com/office/drawing/2014/main" id="{5E599EE4-F619-48D1-9F18-C205B4BAD761}"/>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solidFill>
                <a:latin typeface="Segoe UI Light" panose="020B0502040204020203" pitchFamily="34" charset="0"/>
                <a:cs typeface="Segoe UI Light" panose="020B0502040204020203" pitchFamily="34" charset="0"/>
              </a:rPr>
              <a:t>Black Background for Business</a:t>
            </a:r>
          </a:p>
        </p:txBody>
      </p:sp>
    </p:spTree>
    <p:extLst>
      <p:ext uri="{BB962C8B-B14F-4D97-AF65-F5344CB8AC3E}">
        <p14:creationId xmlns="" xmlns:p14="http://schemas.microsoft.com/office/powerpoint/2010/main" val="14754512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4B6927B9-FE2F-6547-888C-BB7E7A88DDFA}"/>
              </a:ext>
            </a:extLst>
          </p:cNvPr>
          <p:cNvGraphicFramePr>
            <a:graphicFrameLocks noChangeAspect="1"/>
          </p:cNvGraphicFramePr>
          <p:nvPr userDrawn="1">
            <p:custDataLst>
              <p:tags r:id="rId15"/>
            </p:custDataLst>
            <p:extLst>
              <p:ext uri="{D42A27DB-BD31-4B8C-83A1-F6EECF244321}">
                <p14:modId xmlns="" xmlns:p14="http://schemas.microsoft.com/office/powerpoint/2010/main" val="3480739807"/>
              </p:ext>
            </p:extLst>
          </p:nvPr>
        </p:nvGraphicFramePr>
        <p:xfrm>
          <a:off x="1588" y="1588"/>
          <a:ext cx="1587" cy="1587"/>
        </p:xfrm>
        <a:graphic>
          <a:graphicData uri="http://schemas.openxmlformats.org/presentationml/2006/ole">
            <p:oleObj spid="_x0000_s1030" name="think-cell Slide" r:id="rId17" imgW="7761960" imgH="10047960" progId="">
              <p:embed/>
            </p:oleObj>
          </a:graphicData>
        </a:graphic>
      </p:graphicFrame>
      <p:sp>
        <p:nvSpPr>
          <p:cNvPr id="5" name="Rectangle 4" hidden="1">
            <a:extLst>
              <a:ext uri="{FF2B5EF4-FFF2-40B4-BE49-F238E27FC236}">
                <a16:creationId xmlns="" xmlns:a16="http://schemas.microsoft.com/office/drawing/2014/main" id="{9B02A9F1-D26D-C949-A8F3-A16AA4A7248A}"/>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Placeholder 1">
            <a:extLst>
              <a:ext uri="{FF2B5EF4-FFF2-40B4-BE49-F238E27FC236}">
                <a16:creationId xmlns=""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 xmlns:p14="http://schemas.microsoft.com/office/powerpoint/2010/main" val="28366586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0"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3" pos="336" userDrawn="1">
          <p15:clr>
            <a:srgbClr val="F26B43"/>
          </p15:clr>
        </p15:guide>
        <p15:guide id="4" pos="7344" userDrawn="1">
          <p15:clr>
            <a:srgbClr val="F26B43"/>
          </p15:clr>
        </p15:guide>
        <p15:guide id="5" orient="horz" pos="3936" userDrawn="1">
          <p15:clr>
            <a:srgbClr val="F26B43"/>
          </p15:clr>
        </p15:guide>
        <p15:guide id="6" orient="horz" pos="960" userDrawn="1">
          <p15:clr>
            <a:srgbClr val="F26B43"/>
          </p15:clr>
        </p15:guide>
        <p15:guide id="7" orient="horz" pos="81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microsoft.com/office/2007/relationships/hdphoto" Target="../media/hdphoto8.wdp"/><Relationship Id="rId2" Type="http://schemas.openxmlformats.org/officeDocument/2006/relationships/tags" Target="../tags/tag28.xml"/><Relationship Id="rId1" Type="http://schemas.openxmlformats.org/officeDocument/2006/relationships/vmlDrawing" Target="../drawings/vmlDrawing16.vml"/><Relationship Id="rId5" Type="http://schemas.openxmlformats.org/officeDocument/2006/relationships/image" Target="../media/image19.png"/><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8.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5.png"/><Relationship Id="rId5" Type="http://schemas.openxmlformats.org/officeDocument/2006/relationships/oleObject" Target="../embeddings/oleObject1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8.png"/><Relationship Id="rId4" Type="http://schemas.microsoft.com/office/2007/relationships/hdphoto" Target="../media/hdphoto3.wdp"/></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10.png"/><Relationship Id="rId4" Type="http://schemas.microsoft.com/office/2007/relationships/hdphoto" Target="../media/hdphoto4.wdp"/></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12.png"/><Relationship Id="rId4" Type="http://schemas.microsoft.com/office/2007/relationships/hdphoto" Target="../media/hdphoto5.wdp"/></Relationships>
</file>

<file path=ppt/slides/_rels/slide7.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slideLayout" Target="../slideLayouts/slideLayout7.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4.png"/><Relationship Id="rId5" Type="http://schemas.openxmlformats.org/officeDocument/2006/relationships/oleObject" Target="../embeddings/oleObject13.bin"/><Relationship Id="rId4" Type="http://schemas.openxmlformats.org/officeDocument/2006/relationships/notesSlide" Target="../notesSlides/notesSlide7.xml"/><Relationship Id="rId9" Type="http://schemas.openxmlformats.org/officeDocument/2006/relationships/image" Target="../media/image15.png"/></Relationships>
</file>

<file path=ppt/slides/_rels/slide8.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slideLayout" Target="../slideLayouts/slideLayout8.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7.png"/><Relationship Id="rId5" Type="http://schemas.openxmlformats.org/officeDocument/2006/relationships/oleObject" Target="../embeddings/oleObject14.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8.xml"/><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5.png"/><Relationship Id="rId5" Type="http://schemas.openxmlformats.org/officeDocument/2006/relationships/oleObject" Target="../embeddings/oleObject15.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2A91FD46-5354-4711-AB84-994D17879128}"/>
              </a:ext>
            </a:extLst>
          </p:cNvPr>
          <p:cNvPicPr>
            <a:picLocks noChangeAspect="1"/>
          </p:cNvPicPr>
          <p:nvPr/>
        </p:nvPicPr>
        <p:blipFill rotWithShape="1">
          <a:blip r:embed="rId3" cstate="screen">
            <a:extLst>
              <a:ext uri="{28A0092B-C50C-407E-A947-70E740481C1C}">
                <a14:useLocalDpi xmlns="" xmlns:a14="http://schemas.microsoft.com/office/drawing/2010/main"/>
              </a:ext>
            </a:extLst>
          </a:blip>
          <a:srcRect/>
          <a:stretch/>
        </p:blipFill>
        <p:spPr>
          <a:xfrm>
            <a:off x="0" y="0"/>
            <a:ext cx="12192000" cy="6858000"/>
          </a:xfrm>
          <a:prstGeom prst="rect">
            <a:avLst/>
          </a:prstGeom>
        </p:spPr>
      </p:pic>
      <p:sp>
        <p:nvSpPr>
          <p:cNvPr id="3" name="Rectangle 2">
            <a:extLst>
              <a:ext uri="{FF2B5EF4-FFF2-40B4-BE49-F238E27FC236}">
                <a16:creationId xmlns="" xmlns:a16="http://schemas.microsoft.com/office/drawing/2014/main" id="{01E89360-ABB4-4309-AC6A-E7AFD78DE4AA}"/>
              </a:ext>
            </a:extLst>
          </p:cNvPr>
          <p:cNvSpPr/>
          <p:nvPr/>
        </p:nvSpPr>
        <p:spPr>
          <a:xfrm>
            <a:off x="0" y="173844"/>
            <a:ext cx="12192000" cy="6858000"/>
          </a:xfrm>
          <a:prstGeom prst="rect">
            <a:avLst/>
          </a:prstGeom>
          <a:gradFill flip="none" rotWithShape="1">
            <a:gsLst>
              <a:gs pos="24000">
                <a:schemeClr val="tx1">
                  <a:alpha val="95000"/>
                </a:schemeClr>
              </a:gs>
              <a:gs pos="100000">
                <a:schemeClr val="tx1">
                  <a:alpha val="95000"/>
                </a:schemeClr>
              </a:gs>
              <a:gs pos="68000">
                <a:schemeClr val="tx1">
                  <a:alpha val="8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a:extLst>
              <a:ext uri="{FF2B5EF4-FFF2-40B4-BE49-F238E27FC236}">
                <a16:creationId xmlns="" xmlns:a16="http://schemas.microsoft.com/office/drawing/2014/main" id="{61F95C94-CD9B-4EC4-81BD-60FF5FD081E2}"/>
              </a:ext>
            </a:extLst>
          </p:cNvPr>
          <p:cNvCxnSpPr>
            <a:cxnSpLocks/>
          </p:cNvCxnSpPr>
          <p:nvPr/>
        </p:nvCxnSpPr>
        <p:spPr>
          <a:xfrm>
            <a:off x="11640980" y="0"/>
            <a:ext cx="0" cy="150470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BC6E27A4-AF72-4091-9D5E-E9527F008877}"/>
              </a:ext>
            </a:extLst>
          </p:cNvPr>
          <p:cNvCxnSpPr>
            <a:cxnSpLocks/>
          </p:cNvCxnSpPr>
          <p:nvPr/>
        </p:nvCxnSpPr>
        <p:spPr>
          <a:xfrm>
            <a:off x="11953496" y="0"/>
            <a:ext cx="0" cy="1296365"/>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 xmlns:a16="http://schemas.microsoft.com/office/drawing/2014/main" id="{9DE2F6D3-B3DD-41BA-96A1-58FC96EAFB73}"/>
              </a:ext>
            </a:extLst>
          </p:cNvPr>
          <p:cNvSpPr/>
          <p:nvPr/>
        </p:nvSpPr>
        <p:spPr>
          <a:xfrm rot="10800000">
            <a:off x="11193534" y="5588000"/>
            <a:ext cx="777570" cy="127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9" name="Group 148">
            <a:extLst>
              <a:ext uri="{FF2B5EF4-FFF2-40B4-BE49-F238E27FC236}">
                <a16:creationId xmlns="" xmlns:a16="http://schemas.microsoft.com/office/drawing/2014/main" id="{462644C9-9C8E-4AFE-A619-F80F5FD46B72}"/>
              </a:ext>
            </a:extLst>
          </p:cNvPr>
          <p:cNvGrpSpPr/>
          <p:nvPr/>
        </p:nvGrpSpPr>
        <p:grpSpPr>
          <a:xfrm>
            <a:off x="-28599" y="1204816"/>
            <a:ext cx="1729654" cy="848268"/>
            <a:chOff x="233739" y="283295"/>
            <a:chExt cx="1729654" cy="848268"/>
          </a:xfrm>
          <a:gradFill>
            <a:gsLst>
              <a:gs pos="0">
                <a:schemeClr val="accent3"/>
              </a:gs>
              <a:gs pos="100000">
                <a:schemeClr val="tx1">
                  <a:alpha val="95000"/>
                </a:schemeClr>
              </a:gs>
            </a:gsLst>
            <a:lin ang="0" scaled="1"/>
          </a:gradFill>
        </p:grpSpPr>
        <p:grpSp>
          <p:nvGrpSpPr>
            <p:cNvPr id="46" name="Group 45">
              <a:extLst>
                <a:ext uri="{FF2B5EF4-FFF2-40B4-BE49-F238E27FC236}">
                  <a16:creationId xmlns="" xmlns:a16="http://schemas.microsoft.com/office/drawing/2014/main" id="{B3859AC4-D4A2-45D1-A4C3-188C7ADA986E}"/>
                </a:ext>
              </a:extLst>
            </p:cNvPr>
            <p:cNvGrpSpPr/>
            <p:nvPr/>
          </p:nvGrpSpPr>
          <p:grpSpPr>
            <a:xfrm rot="5400000">
              <a:off x="1055270" y="-538236"/>
              <a:ext cx="86591" cy="1729654"/>
              <a:chOff x="85292" y="59892"/>
              <a:chExt cx="86591" cy="1729654"/>
            </a:xfrm>
            <a:grpFill/>
          </p:grpSpPr>
          <p:sp>
            <p:nvSpPr>
              <p:cNvPr id="36" name="Oval 35">
                <a:extLst>
                  <a:ext uri="{FF2B5EF4-FFF2-40B4-BE49-F238E27FC236}">
                    <a16:creationId xmlns="" xmlns:a16="http://schemas.microsoft.com/office/drawing/2014/main" id="{82472DF2-3955-4F9A-8FF3-8669C4EB50B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 xmlns:a16="http://schemas.microsoft.com/office/drawing/2014/main" id="{BF2C2C12-8648-4981-8DA4-97B54A73977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 xmlns:a16="http://schemas.microsoft.com/office/drawing/2014/main" id="{3B86E2F7-5AB7-4AF0-AACB-0AE000507A7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 xmlns:a16="http://schemas.microsoft.com/office/drawing/2014/main" id="{AEB071FD-67ED-44CC-A74E-36DC6166D56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 xmlns:a16="http://schemas.microsoft.com/office/drawing/2014/main" id="{121CC87B-44BF-4756-AA94-C29A7564D38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 xmlns:a16="http://schemas.microsoft.com/office/drawing/2014/main" id="{D4D40BE6-BE89-40AC-A48E-614235CCD49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 xmlns:a16="http://schemas.microsoft.com/office/drawing/2014/main" id="{D6592391-B50B-4CFC-B439-BE81D950212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 xmlns:a16="http://schemas.microsoft.com/office/drawing/2014/main" id="{0D631DA9-BE8D-405D-83FE-FE44F0FC05C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 xmlns:a16="http://schemas.microsoft.com/office/drawing/2014/main" id="{8E43F86F-0BAD-457B-BD2C-2D063703B90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 xmlns:a16="http://schemas.microsoft.com/office/drawing/2014/main" id="{A99CC0BE-209C-4E61-8A50-E38DEDE2370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 name="Group 46">
              <a:extLst>
                <a:ext uri="{FF2B5EF4-FFF2-40B4-BE49-F238E27FC236}">
                  <a16:creationId xmlns="" xmlns:a16="http://schemas.microsoft.com/office/drawing/2014/main" id="{A3EBDD04-FB89-4B6E-8032-CF7D42C56318}"/>
                </a:ext>
              </a:extLst>
            </p:cNvPr>
            <p:cNvGrpSpPr/>
            <p:nvPr/>
          </p:nvGrpSpPr>
          <p:grpSpPr>
            <a:xfrm rot="5400000">
              <a:off x="1055270" y="-284344"/>
              <a:ext cx="86591" cy="1729654"/>
              <a:chOff x="85292" y="59892"/>
              <a:chExt cx="86591" cy="1729654"/>
            </a:xfrm>
            <a:grpFill/>
          </p:grpSpPr>
          <p:sp>
            <p:nvSpPr>
              <p:cNvPr id="48" name="Oval 47">
                <a:extLst>
                  <a:ext uri="{FF2B5EF4-FFF2-40B4-BE49-F238E27FC236}">
                    <a16:creationId xmlns="" xmlns:a16="http://schemas.microsoft.com/office/drawing/2014/main" id="{EA9CF54B-91F6-4C90-83CE-057CA0FD539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 xmlns:a16="http://schemas.microsoft.com/office/drawing/2014/main" id="{D69B985E-5942-497F-8B8F-F6DE958B380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 xmlns:a16="http://schemas.microsoft.com/office/drawing/2014/main" id="{B22B2E20-BD40-45AB-AE3E-11F2AD4459D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 xmlns:a16="http://schemas.microsoft.com/office/drawing/2014/main" id="{21B39FF4-CFB7-48B8-95E1-ED5E79C3FCC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 xmlns:a16="http://schemas.microsoft.com/office/drawing/2014/main" id="{03D4A0FA-78BD-4337-A1F1-F6D64951EAF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 xmlns:a16="http://schemas.microsoft.com/office/drawing/2014/main" id="{5310242E-09D7-4A03-ACE1-894177649A6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 xmlns:a16="http://schemas.microsoft.com/office/drawing/2014/main" id="{FB3AE23C-04C4-4815-B1E5-02EC4566385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 xmlns:a16="http://schemas.microsoft.com/office/drawing/2014/main" id="{E212123B-C025-4B14-A4D1-1B1CD88CCF1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 xmlns:a16="http://schemas.microsoft.com/office/drawing/2014/main" id="{66AA92DD-D57E-41F8-9ED3-C7D46A5DD0B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 xmlns:a16="http://schemas.microsoft.com/office/drawing/2014/main" id="{B5BF506D-774F-4183-BCDF-3C8BAE9373D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Group 57">
              <a:extLst>
                <a:ext uri="{FF2B5EF4-FFF2-40B4-BE49-F238E27FC236}">
                  <a16:creationId xmlns="" xmlns:a16="http://schemas.microsoft.com/office/drawing/2014/main" id="{27FC856C-6F95-441F-B43B-72A07BAD424F}"/>
                </a:ext>
              </a:extLst>
            </p:cNvPr>
            <p:cNvGrpSpPr/>
            <p:nvPr/>
          </p:nvGrpSpPr>
          <p:grpSpPr>
            <a:xfrm rot="5400000">
              <a:off x="1055270" y="-30452"/>
              <a:ext cx="86591" cy="1729654"/>
              <a:chOff x="85292" y="59892"/>
              <a:chExt cx="86591" cy="1729654"/>
            </a:xfrm>
            <a:grpFill/>
          </p:grpSpPr>
          <p:sp>
            <p:nvSpPr>
              <p:cNvPr id="59" name="Oval 58">
                <a:extLst>
                  <a:ext uri="{FF2B5EF4-FFF2-40B4-BE49-F238E27FC236}">
                    <a16:creationId xmlns="" xmlns:a16="http://schemas.microsoft.com/office/drawing/2014/main" id="{59DE27A7-E134-4FC2-A0BD-A35C114061F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 xmlns:a16="http://schemas.microsoft.com/office/drawing/2014/main" id="{D1A62704-FAC2-4690-8695-8AD9EC0C9EA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 xmlns:a16="http://schemas.microsoft.com/office/drawing/2014/main" id="{6664A7CA-7C97-4609-862B-07617BFBC3D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 xmlns:a16="http://schemas.microsoft.com/office/drawing/2014/main" id="{711C49D0-BF81-4A92-B2D7-8DA1C28C312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 xmlns:a16="http://schemas.microsoft.com/office/drawing/2014/main" id="{4C14CABE-7EAE-44AD-A454-6CA541AB56AB}"/>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 xmlns:a16="http://schemas.microsoft.com/office/drawing/2014/main" id="{8B8CDE1C-3EAF-441B-AB9E-A2DAA4B6A37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 xmlns:a16="http://schemas.microsoft.com/office/drawing/2014/main" id="{1345F873-D8B2-4B5B-9C58-72D3A2970F7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 xmlns:a16="http://schemas.microsoft.com/office/drawing/2014/main" id="{9AF3AF24-D8D6-4CF7-BEC0-8A2E83914E4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 xmlns:a16="http://schemas.microsoft.com/office/drawing/2014/main" id="{02652F8B-4A48-45DD-8230-AD8AA35BD9D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 xmlns:a16="http://schemas.microsoft.com/office/drawing/2014/main" id="{0244E361-4F57-40CF-AEC0-CDFBE9B22B2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Group 68">
              <a:extLst>
                <a:ext uri="{FF2B5EF4-FFF2-40B4-BE49-F238E27FC236}">
                  <a16:creationId xmlns="" xmlns:a16="http://schemas.microsoft.com/office/drawing/2014/main" id="{A58096A0-7EBB-4DFB-9767-A014A2022188}"/>
                </a:ext>
              </a:extLst>
            </p:cNvPr>
            <p:cNvGrpSpPr/>
            <p:nvPr/>
          </p:nvGrpSpPr>
          <p:grpSpPr>
            <a:xfrm rot="5400000">
              <a:off x="1055270" y="223441"/>
              <a:ext cx="86591" cy="1729654"/>
              <a:chOff x="85292" y="59892"/>
              <a:chExt cx="86591" cy="1729654"/>
            </a:xfrm>
            <a:grpFill/>
          </p:grpSpPr>
          <p:sp>
            <p:nvSpPr>
              <p:cNvPr id="70" name="Oval 69">
                <a:extLst>
                  <a:ext uri="{FF2B5EF4-FFF2-40B4-BE49-F238E27FC236}">
                    <a16:creationId xmlns="" xmlns:a16="http://schemas.microsoft.com/office/drawing/2014/main" id="{AD03C29E-4BC0-433B-9A08-521BCE5163F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 xmlns:a16="http://schemas.microsoft.com/office/drawing/2014/main" id="{6ACB24BA-E4F3-44C9-9BA9-35925075BB69}"/>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 xmlns:a16="http://schemas.microsoft.com/office/drawing/2014/main" id="{83F2E134-B321-4E38-8AA2-EC3D2636ACE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 xmlns:a16="http://schemas.microsoft.com/office/drawing/2014/main" id="{6010FFCD-B865-4A1A-8AD5-4D609E4CA24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 xmlns:a16="http://schemas.microsoft.com/office/drawing/2014/main" id="{63348965-EA9F-420C-A954-AE1E62AAD1C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 xmlns:a16="http://schemas.microsoft.com/office/drawing/2014/main" id="{F204FE37-95AB-4EBD-86F1-BAF3F8F2896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 xmlns:a16="http://schemas.microsoft.com/office/drawing/2014/main" id="{035234EF-B614-41E3-AE97-1560C5F50F7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 xmlns:a16="http://schemas.microsoft.com/office/drawing/2014/main" id="{6AF0FD01-7FB5-4D00-8F86-7356082ECB3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 xmlns:a16="http://schemas.microsoft.com/office/drawing/2014/main" id="{2D44FD7E-D672-434E-A1A6-9E9B3ADEA56D}"/>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 xmlns:a16="http://schemas.microsoft.com/office/drawing/2014/main" id="{54831087-8F0F-4455-8DC4-1F46534EC65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5" name="Rectangle 14">
            <a:extLst>
              <a:ext uri="{FF2B5EF4-FFF2-40B4-BE49-F238E27FC236}">
                <a16:creationId xmlns="" xmlns:a16="http://schemas.microsoft.com/office/drawing/2014/main" id="{ADA6C32D-D91D-45F6-855A-8E907D206E25}"/>
              </a:ext>
            </a:extLst>
          </p:cNvPr>
          <p:cNvSpPr/>
          <p:nvPr/>
        </p:nvSpPr>
        <p:spPr>
          <a:xfrm>
            <a:off x="0" y="2363355"/>
            <a:ext cx="4911500" cy="3071091"/>
          </a:xfrm>
          <a:prstGeom prst="rect">
            <a:avLst/>
          </a:prstGeom>
          <a:pattFill prst="ltUpDiag">
            <a:fgClr>
              <a:schemeClr val="accent6"/>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 xmlns:a16="http://schemas.microsoft.com/office/drawing/2014/main" id="{BD40C8B9-295C-453D-964F-30BBA26DF7FB}"/>
              </a:ext>
            </a:extLst>
          </p:cNvPr>
          <p:cNvSpPr/>
          <p:nvPr/>
        </p:nvSpPr>
        <p:spPr>
          <a:xfrm rot="10800000">
            <a:off x="0" y="2251470"/>
            <a:ext cx="2374900" cy="2108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 xmlns:a16="http://schemas.microsoft.com/office/drawing/2014/main" id="{5114F8CA-279D-4A03-B9C9-A77B709B6FAE}"/>
              </a:ext>
            </a:extLst>
          </p:cNvPr>
          <p:cNvSpPr/>
          <p:nvPr/>
        </p:nvSpPr>
        <p:spPr>
          <a:xfrm rot="10800000">
            <a:off x="4522715" y="5079213"/>
            <a:ext cx="777570" cy="7280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5" name="Group 194">
            <a:extLst>
              <a:ext uri="{FF2B5EF4-FFF2-40B4-BE49-F238E27FC236}">
                <a16:creationId xmlns="" xmlns:a16="http://schemas.microsoft.com/office/drawing/2014/main" id="{71C71726-7BE2-447E-B686-7A9BCC4737D5}"/>
              </a:ext>
            </a:extLst>
          </p:cNvPr>
          <p:cNvGrpSpPr/>
          <p:nvPr/>
        </p:nvGrpSpPr>
        <p:grpSpPr>
          <a:xfrm>
            <a:off x="10874570" y="4884418"/>
            <a:ext cx="1729654" cy="848268"/>
            <a:chOff x="233739" y="283295"/>
            <a:chExt cx="1729654" cy="848268"/>
          </a:xfrm>
          <a:gradFill>
            <a:gsLst>
              <a:gs pos="100000">
                <a:schemeClr val="accent3"/>
              </a:gs>
              <a:gs pos="0">
                <a:schemeClr val="tx1">
                  <a:alpha val="95000"/>
                </a:schemeClr>
              </a:gs>
            </a:gsLst>
            <a:lin ang="0" scaled="1"/>
          </a:gradFill>
        </p:grpSpPr>
        <p:grpSp>
          <p:nvGrpSpPr>
            <p:cNvPr id="196" name="Group 195">
              <a:extLst>
                <a:ext uri="{FF2B5EF4-FFF2-40B4-BE49-F238E27FC236}">
                  <a16:creationId xmlns="" xmlns:a16="http://schemas.microsoft.com/office/drawing/2014/main" id="{453AC8D1-9726-411A-B5BB-7D52A1853C5C}"/>
                </a:ext>
              </a:extLst>
            </p:cNvPr>
            <p:cNvGrpSpPr/>
            <p:nvPr/>
          </p:nvGrpSpPr>
          <p:grpSpPr>
            <a:xfrm rot="5400000">
              <a:off x="1055270" y="-538236"/>
              <a:ext cx="86591" cy="1729654"/>
              <a:chOff x="85292" y="59892"/>
              <a:chExt cx="86591" cy="1729654"/>
            </a:xfrm>
            <a:grpFill/>
          </p:grpSpPr>
          <p:sp>
            <p:nvSpPr>
              <p:cNvPr id="230" name="Oval 229">
                <a:extLst>
                  <a:ext uri="{FF2B5EF4-FFF2-40B4-BE49-F238E27FC236}">
                    <a16:creationId xmlns="" xmlns:a16="http://schemas.microsoft.com/office/drawing/2014/main" id="{EC021E79-1869-42BA-B0DE-583D629DB59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a:extLst>
                  <a:ext uri="{FF2B5EF4-FFF2-40B4-BE49-F238E27FC236}">
                    <a16:creationId xmlns="" xmlns:a16="http://schemas.microsoft.com/office/drawing/2014/main" id="{B5CD89E4-B344-47E1-B422-63D4C789939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 xmlns:a16="http://schemas.microsoft.com/office/drawing/2014/main" id="{C4FB51EF-35CF-4BF3-881A-53465BCF6A1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 xmlns:a16="http://schemas.microsoft.com/office/drawing/2014/main" id="{14438DB7-29CF-4182-86F1-903624C3B27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 xmlns:a16="http://schemas.microsoft.com/office/drawing/2014/main" id="{17609B6E-48F0-4FA9-92B6-A64E87903CD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 xmlns:a16="http://schemas.microsoft.com/office/drawing/2014/main" id="{C472732E-B529-4A93-83D6-5ABE399B219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 xmlns:a16="http://schemas.microsoft.com/office/drawing/2014/main" id="{249E6F4D-5972-4F1D-9AF5-9CBEB167221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a:extLst>
                  <a:ext uri="{FF2B5EF4-FFF2-40B4-BE49-F238E27FC236}">
                    <a16:creationId xmlns="" xmlns:a16="http://schemas.microsoft.com/office/drawing/2014/main" id="{DDB655B8-ADC0-4DDD-82B6-51EB75B79C4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Oval 237">
                <a:extLst>
                  <a:ext uri="{FF2B5EF4-FFF2-40B4-BE49-F238E27FC236}">
                    <a16:creationId xmlns="" xmlns:a16="http://schemas.microsoft.com/office/drawing/2014/main" id="{D1AFCDA8-4F96-400D-A416-AB45C3528FA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 xmlns:a16="http://schemas.microsoft.com/office/drawing/2014/main" id="{3A95CF27-02E1-46EE-90FA-D207AEBF398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7" name="Group 196">
              <a:extLst>
                <a:ext uri="{FF2B5EF4-FFF2-40B4-BE49-F238E27FC236}">
                  <a16:creationId xmlns="" xmlns:a16="http://schemas.microsoft.com/office/drawing/2014/main" id="{E8E73E80-F1CE-4B10-8683-B9EEE584E91E}"/>
                </a:ext>
              </a:extLst>
            </p:cNvPr>
            <p:cNvGrpSpPr/>
            <p:nvPr/>
          </p:nvGrpSpPr>
          <p:grpSpPr>
            <a:xfrm rot="5400000">
              <a:off x="1055270" y="-284344"/>
              <a:ext cx="86591" cy="1729654"/>
              <a:chOff x="85292" y="59892"/>
              <a:chExt cx="86591" cy="1729654"/>
            </a:xfrm>
            <a:grpFill/>
          </p:grpSpPr>
          <p:sp>
            <p:nvSpPr>
              <p:cNvPr id="220" name="Oval 219">
                <a:extLst>
                  <a:ext uri="{FF2B5EF4-FFF2-40B4-BE49-F238E27FC236}">
                    <a16:creationId xmlns="" xmlns:a16="http://schemas.microsoft.com/office/drawing/2014/main" id="{F06F281B-03C7-4DFD-8FBA-FC487D6F73B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 xmlns:a16="http://schemas.microsoft.com/office/drawing/2014/main" id="{42A28A2D-9F81-48E7-BD9F-BC28A382805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 xmlns:a16="http://schemas.microsoft.com/office/drawing/2014/main" id="{E16AE97F-353E-4BEE-A547-C5ED19F5E5E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a:extLst>
                  <a:ext uri="{FF2B5EF4-FFF2-40B4-BE49-F238E27FC236}">
                    <a16:creationId xmlns="" xmlns:a16="http://schemas.microsoft.com/office/drawing/2014/main" id="{B1F42D5A-4219-4099-A3DA-BCEB22117F3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Oval 223">
                <a:extLst>
                  <a:ext uri="{FF2B5EF4-FFF2-40B4-BE49-F238E27FC236}">
                    <a16:creationId xmlns="" xmlns:a16="http://schemas.microsoft.com/office/drawing/2014/main" id="{DA1B87EB-5F13-43C6-B56C-7C5963FFDA9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a:extLst>
                  <a:ext uri="{FF2B5EF4-FFF2-40B4-BE49-F238E27FC236}">
                    <a16:creationId xmlns="" xmlns:a16="http://schemas.microsoft.com/office/drawing/2014/main" id="{8D8BB05C-800B-49F9-A92A-812B065F135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Oval 225">
                <a:extLst>
                  <a:ext uri="{FF2B5EF4-FFF2-40B4-BE49-F238E27FC236}">
                    <a16:creationId xmlns="" xmlns:a16="http://schemas.microsoft.com/office/drawing/2014/main" id="{764A4D89-70BA-4AFB-A01E-3F912CC667F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a:extLst>
                  <a:ext uri="{FF2B5EF4-FFF2-40B4-BE49-F238E27FC236}">
                    <a16:creationId xmlns="" xmlns:a16="http://schemas.microsoft.com/office/drawing/2014/main" id="{7EF3500F-C8C1-4BEE-ACCA-0695D6593A9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a:extLst>
                  <a:ext uri="{FF2B5EF4-FFF2-40B4-BE49-F238E27FC236}">
                    <a16:creationId xmlns="" xmlns:a16="http://schemas.microsoft.com/office/drawing/2014/main" id="{490171FB-02C0-4426-A789-8B337ECCCA9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a:extLst>
                  <a:ext uri="{FF2B5EF4-FFF2-40B4-BE49-F238E27FC236}">
                    <a16:creationId xmlns="" xmlns:a16="http://schemas.microsoft.com/office/drawing/2014/main" id="{E701BAEB-1ADB-4C9D-A84D-E29BB04D6B8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8" name="Group 197">
              <a:extLst>
                <a:ext uri="{FF2B5EF4-FFF2-40B4-BE49-F238E27FC236}">
                  <a16:creationId xmlns="" xmlns:a16="http://schemas.microsoft.com/office/drawing/2014/main" id="{D32C1DA0-D80D-4AC7-925B-9C6FFA02994C}"/>
                </a:ext>
              </a:extLst>
            </p:cNvPr>
            <p:cNvGrpSpPr/>
            <p:nvPr/>
          </p:nvGrpSpPr>
          <p:grpSpPr>
            <a:xfrm rot="5400000">
              <a:off x="1055270" y="-30452"/>
              <a:ext cx="86591" cy="1729654"/>
              <a:chOff x="85292" y="59892"/>
              <a:chExt cx="86591" cy="1729654"/>
            </a:xfrm>
            <a:grpFill/>
          </p:grpSpPr>
          <p:sp>
            <p:nvSpPr>
              <p:cNvPr id="210" name="Oval 209">
                <a:extLst>
                  <a:ext uri="{FF2B5EF4-FFF2-40B4-BE49-F238E27FC236}">
                    <a16:creationId xmlns="" xmlns:a16="http://schemas.microsoft.com/office/drawing/2014/main" id="{0530131A-CFE9-4870-8643-33BC29394E7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 xmlns:a16="http://schemas.microsoft.com/office/drawing/2014/main" id="{A21BA44F-5F26-402E-BE00-829C0684AF0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 xmlns:a16="http://schemas.microsoft.com/office/drawing/2014/main" id="{4F7CB3E8-7BC6-4980-90CE-D1CFCA4FF48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a:extLst>
                  <a:ext uri="{FF2B5EF4-FFF2-40B4-BE49-F238E27FC236}">
                    <a16:creationId xmlns="" xmlns:a16="http://schemas.microsoft.com/office/drawing/2014/main" id="{D93C76E9-6A8A-45CD-BD51-F9DFD310A6A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 xmlns:a16="http://schemas.microsoft.com/office/drawing/2014/main" id="{75AADEDA-5EA5-47E4-A057-F3B9EA45768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 xmlns:a16="http://schemas.microsoft.com/office/drawing/2014/main" id="{BC4B8F62-17B4-40E8-A2A5-0BDEA97D513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a:extLst>
                  <a:ext uri="{FF2B5EF4-FFF2-40B4-BE49-F238E27FC236}">
                    <a16:creationId xmlns="" xmlns:a16="http://schemas.microsoft.com/office/drawing/2014/main" id="{96C30A71-70C4-416A-96B5-C9BEF288A06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 xmlns:a16="http://schemas.microsoft.com/office/drawing/2014/main" id="{EF9E255F-282F-46A3-B4A8-7E3E5E1BC7D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 xmlns:a16="http://schemas.microsoft.com/office/drawing/2014/main" id="{A1B31A61-A17A-469B-ABF0-AEB36EB0597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 xmlns:a16="http://schemas.microsoft.com/office/drawing/2014/main" id="{39AF114E-0BD4-48A0-BD21-FC9B0257269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9" name="Group 198">
              <a:extLst>
                <a:ext uri="{FF2B5EF4-FFF2-40B4-BE49-F238E27FC236}">
                  <a16:creationId xmlns="" xmlns:a16="http://schemas.microsoft.com/office/drawing/2014/main" id="{F973D475-3B88-4221-AB26-781CB015A183}"/>
                </a:ext>
              </a:extLst>
            </p:cNvPr>
            <p:cNvGrpSpPr/>
            <p:nvPr/>
          </p:nvGrpSpPr>
          <p:grpSpPr>
            <a:xfrm rot="5400000">
              <a:off x="1055270" y="223441"/>
              <a:ext cx="86591" cy="1729654"/>
              <a:chOff x="85292" y="59892"/>
              <a:chExt cx="86591" cy="1729654"/>
            </a:xfrm>
            <a:grpFill/>
          </p:grpSpPr>
          <p:sp>
            <p:nvSpPr>
              <p:cNvPr id="200" name="Oval 199">
                <a:extLst>
                  <a:ext uri="{FF2B5EF4-FFF2-40B4-BE49-F238E27FC236}">
                    <a16:creationId xmlns="" xmlns:a16="http://schemas.microsoft.com/office/drawing/2014/main" id="{75E12B52-8781-4DEB-90A5-8438F6106BB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 xmlns:a16="http://schemas.microsoft.com/office/drawing/2014/main" id="{C717E4F3-5AD7-40F8-ACA7-493A433EAA5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Oval 201">
                <a:extLst>
                  <a:ext uri="{FF2B5EF4-FFF2-40B4-BE49-F238E27FC236}">
                    <a16:creationId xmlns="" xmlns:a16="http://schemas.microsoft.com/office/drawing/2014/main" id="{9A5329BB-3A93-4C7B-8791-73486946846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a:extLst>
                  <a:ext uri="{FF2B5EF4-FFF2-40B4-BE49-F238E27FC236}">
                    <a16:creationId xmlns="" xmlns:a16="http://schemas.microsoft.com/office/drawing/2014/main" id="{94165604-DBB5-4B8A-9E85-3A22183FAB3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Oval 203">
                <a:extLst>
                  <a:ext uri="{FF2B5EF4-FFF2-40B4-BE49-F238E27FC236}">
                    <a16:creationId xmlns="" xmlns:a16="http://schemas.microsoft.com/office/drawing/2014/main" id="{61BF02F9-DCDA-44D9-A5D3-99747F1F409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Oval 204">
                <a:extLst>
                  <a:ext uri="{FF2B5EF4-FFF2-40B4-BE49-F238E27FC236}">
                    <a16:creationId xmlns="" xmlns:a16="http://schemas.microsoft.com/office/drawing/2014/main" id="{201D8996-5F0C-4F73-89A1-E5BA7D3C242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Oval 205">
                <a:extLst>
                  <a:ext uri="{FF2B5EF4-FFF2-40B4-BE49-F238E27FC236}">
                    <a16:creationId xmlns="" xmlns:a16="http://schemas.microsoft.com/office/drawing/2014/main" id="{D3B58AD7-F7C4-4F3A-975C-077050BF6D8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a:extLst>
                  <a:ext uri="{FF2B5EF4-FFF2-40B4-BE49-F238E27FC236}">
                    <a16:creationId xmlns="" xmlns:a16="http://schemas.microsoft.com/office/drawing/2014/main" id="{18BAF9FB-B0CA-49F1-9D1F-FD8A8DFDA63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Oval 207">
                <a:extLst>
                  <a:ext uri="{FF2B5EF4-FFF2-40B4-BE49-F238E27FC236}">
                    <a16:creationId xmlns="" xmlns:a16="http://schemas.microsoft.com/office/drawing/2014/main" id="{14C9B3B5-1C0F-4D0C-9055-2BF9B0D25C7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a:extLst>
                  <a:ext uri="{FF2B5EF4-FFF2-40B4-BE49-F238E27FC236}">
                    <a16:creationId xmlns="" xmlns:a16="http://schemas.microsoft.com/office/drawing/2014/main" id="{4BC0DB86-654B-4DC7-A0AE-A75968E16CC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7" name="Straight Connector 26">
            <a:extLst>
              <a:ext uri="{FF2B5EF4-FFF2-40B4-BE49-F238E27FC236}">
                <a16:creationId xmlns="" xmlns:a16="http://schemas.microsoft.com/office/drawing/2014/main" id="{813ECB4B-570D-477D-8055-BB9516A3D3AF}"/>
              </a:ext>
            </a:extLst>
          </p:cNvPr>
          <p:cNvCxnSpPr>
            <a:cxnSpLocks/>
          </p:cNvCxnSpPr>
          <p:nvPr/>
        </p:nvCxnSpPr>
        <p:spPr>
          <a:xfrm>
            <a:off x="11259016" y="0"/>
            <a:ext cx="0" cy="528963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 xmlns:a16="http://schemas.microsoft.com/office/drawing/2014/main" id="{7DBF6925-4AC9-47FB-8907-8E8B33971D94}"/>
              </a:ext>
            </a:extLst>
          </p:cNvPr>
          <p:cNvGrpSpPr/>
          <p:nvPr/>
        </p:nvGrpSpPr>
        <p:grpSpPr>
          <a:xfrm>
            <a:off x="10462754" y="5416957"/>
            <a:ext cx="1195846" cy="342084"/>
            <a:chOff x="4103688" y="-2378075"/>
            <a:chExt cx="1309687" cy="374650"/>
          </a:xfrm>
          <a:solidFill>
            <a:schemeClr val="accent6"/>
          </a:solidFill>
        </p:grpSpPr>
        <p:sp>
          <p:nvSpPr>
            <p:cNvPr id="6" name="Freeform 254">
              <a:extLst>
                <a:ext uri="{FF2B5EF4-FFF2-40B4-BE49-F238E27FC236}">
                  <a16:creationId xmlns="" xmlns:a16="http://schemas.microsoft.com/office/drawing/2014/main" id="{B492D766-E483-495B-8EF0-F4E41425370D}"/>
                </a:ext>
              </a:extLst>
            </p:cNvPr>
            <p:cNvSpPr>
              <a:spLocks/>
            </p:cNvSpPr>
            <p:nvPr/>
          </p:nvSpPr>
          <p:spPr bwMode="auto">
            <a:xfrm>
              <a:off x="4103688" y="-2374900"/>
              <a:ext cx="182562" cy="288925"/>
            </a:xfrm>
            <a:custGeom>
              <a:avLst/>
              <a:gdLst>
                <a:gd name="T0" fmla="*/ 43 w 61"/>
                <a:gd name="T1" fmla="*/ 47 h 95"/>
                <a:gd name="T2" fmla="*/ 30 w 61"/>
                <a:gd name="T3" fmla="*/ 55 h 95"/>
                <a:gd name="T4" fmla="*/ 11 w 61"/>
                <a:gd name="T5" fmla="*/ 83 h 95"/>
                <a:gd name="T6" fmla="*/ 11 w 61"/>
                <a:gd name="T7" fmla="*/ 85 h 95"/>
                <a:gd name="T8" fmla="*/ 57 w 61"/>
                <a:gd name="T9" fmla="*/ 85 h 95"/>
                <a:gd name="T10" fmla="*/ 60 w 61"/>
                <a:gd name="T11" fmla="*/ 88 h 95"/>
                <a:gd name="T12" fmla="*/ 60 w 61"/>
                <a:gd name="T13" fmla="*/ 93 h 95"/>
                <a:gd name="T14" fmla="*/ 57 w 61"/>
                <a:gd name="T15" fmla="*/ 95 h 95"/>
                <a:gd name="T16" fmla="*/ 3 w 61"/>
                <a:gd name="T17" fmla="*/ 95 h 95"/>
                <a:gd name="T18" fmla="*/ 0 w 61"/>
                <a:gd name="T19" fmla="*/ 93 h 95"/>
                <a:gd name="T20" fmla="*/ 0 w 61"/>
                <a:gd name="T21" fmla="*/ 83 h 95"/>
                <a:gd name="T22" fmla="*/ 21 w 61"/>
                <a:gd name="T23" fmla="*/ 49 h 95"/>
                <a:gd name="T24" fmla="*/ 35 w 61"/>
                <a:gd name="T25" fmla="*/ 40 h 95"/>
                <a:gd name="T26" fmla="*/ 49 w 61"/>
                <a:gd name="T27" fmla="*/ 22 h 95"/>
                <a:gd name="T28" fmla="*/ 28 w 61"/>
                <a:gd name="T29" fmla="*/ 9 h 95"/>
                <a:gd name="T30" fmla="*/ 4 w 61"/>
                <a:gd name="T31" fmla="*/ 11 h 95"/>
                <a:gd name="T32" fmla="*/ 3 w 61"/>
                <a:gd name="T33" fmla="*/ 11 h 95"/>
                <a:gd name="T34" fmla="*/ 1 w 61"/>
                <a:gd name="T35" fmla="*/ 9 h 95"/>
                <a:gd name="T36" fmla="*/ 1 w 61"/>
                <a:gd name="T37" fmla="*/ 4 h 95"/>
                <a:gd name="T38" fmla="*/ 4 w 61"/>
                <a:gd name="T39" fmla="*/ 2 h 95"/>
                <a:gd name="T40" fmla="*/ 28 w 61"/>
                <a:gd name="T41" fmla="*/ 0 h 95"/>
                <a:gd name="T42" fmla="*/ 61 w 61"/>
                <a:gd name="T43" fmla="*/ 22 h 95"/>
                <a:gd name="T44" fmla="*/ 43 w 61"/>
                <a:gd name="T45" fmla="*/ 4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95">
                  <a:moveTo>
                    <a:pt x="43" y="47"/>
                  </a:moveTo>
                  <a:cubicBezTo>
                    <a:pt x="30" y="55"/>
                    <a:pt x="30" y="55"/>
                    <a:pt x="30" y="55"/>
                  </a:cubicBezTo>
                  <a:cubicBezTo>
                    <a:pt x="15" y="65"/>
                    <a:pt x="11" y="72"/>
                    <a:pt x="11" y="83"/>
                  </a:cubicBezTo>
                  <a:cubicBezTo>
                    <a:pt x="11" y="85"/>
                    <a:pt x="11" y="85"/>
                    <a:pt x="11" y="85"/>
                  </a:cubicBezTo>
                  <a:cubicBezTo>
                    <a:pt x="57" y="85"/>
                    <a:pt x="57" y="85"/>
                    <a:pt x="57" y="85"/>
                  </a:cubicBezTo>
                  <a:cubicBezTo>
                    <a:pt x="59" y="85"/>
                    <a:pt x="60" y="86"/>
                    <a:pt x="60" y="88"/>
                  </a:cubicBezTo>
                  <a:cubicBezTo>
                    <a:pt x="60" y="93"/>
                    <a:pt x="60" y="93"/>
                    <a:pt x="60" y="93"/>
                  </a:cubicBezTo>
                  <a:cubicBezTo>
                    <a:pt x="60" y="95"/>
                    <a:pt x="59" y="95"/>
                    <a:pt x="57" y="95"/>
                  </a:cubicBezTo>
                  <a:cubicBezTo>
                    <a:pt x="3" y="95"/>
                    <a:pt x="3" y="95"/>
                    <a:pt x="3" y="95"/>
                  </a:cubicBezTo>
                  <a:cubicBezTo>
                    <a:pt x="1" y="95"/>
                    <a:pt x="0" y="94"/>
                    <a:pt x="0" y="93"/>
                  </a:cubicBezTo>
                  <a:cubicBezTo>
                    <a:pt x="0" y="83"/>
                    <a:pt x="0" y="83"/>
                    <a:pt x="0" y="83"/>
                  </a:cubicBezTo>
                  <a:cubicBezTo>
                    <a:pt x="0" y="69"/>
                    <a:pt x="6" y="58"/>
                    <a:pt x="21" y="49"/>
                  </a:cubicBezTo>
                  <a:cubicBezTo>
                    <a:pt x="35" y="40"/>
                    <a:pt x="35" y="40"/>
                    <a:pt x="35" y="40"/>
                  </a:cubicBezTo>
                  <a:cubicBezTo>
                    <a:pt x="46" y="33"/>
                    <a:pt x="49" y="30"/>
                    <a:pt x="49" y="22"/>
                  </a:cubicBezTo>
                  <a:cubicBezTo>
                    <a:pt x="49" y="13"/>
                    <a:pt x="43" y="9"/>
                    <a:pt x="28" y="9"/>
                  </a:cubicBezTo>
                  <a:cubicBezTo>
                    <a:pt x="21" y="9"/>
                    <a:pt x="12" y="10"/>
                    <a:pt x="4" y="11"/>
                  </a:cubicBezTo>
                  <a:cubicBezTo>
                    <a:pt x="4" y="11"/>
                    <a:pt x="4" y="11"/>
                    <a:pt x="3" y="11"/>
                  </a:cubicBezTo>
                  <a:cubicBezTo>
                    <a:pt x="2" y="11"/>
                    <a:pt x="1" y="10"/>
                    <a:pt x="1" y="9"/>
                  </a:cubicBezTo>
                  <a:cubicBezTo>
                    <a:pt x="1" y="4"/>
                    <a:pt x="1" y="4"/>
                    <a:pt x="1" y="4"/>
                  </a:cubicBezTo>
                  <a:cubicBezTo>
                    <a:pt x="1" y="3"/>
                    <a:pt x="3" y="2"/>
                    <a:pt x="4" y="2"/>
                  </a:cubicBezTo>
                  <a:cubicBezTo>
                    <a:pt x="11" y="0"/>
                    <a:pt x="20" y="0"/>
                    <a:pt x="28" y="0"/>
                  </a:cubicBezTo>
                  <a:cubicBezTo>
                    <a:pt x="51" y="0"/>
                    <a:pt x="61" y="7"/>
                    <a:pt x="61" y="22"/>
                  </a:cubicBezTo>
                  <a:cubicBezTo>
                    <a:pt x="61" y="33"/>
                    <a:pt x="56" y="39"/>
                    <a:pt x="43"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7" name="Freeform 255">
              <a:extLst>
                <a:ext uri="{FF2B5EF4-FFF2-40B4-BE49-F238E27FC236}">
                  <a16:creationId xmlns="" xmlns:a16="http://schemas.microsoft.com/office/drawing/2014/main" id="{A3065396-6AF8-4776-B6F5-0F506D360D7F}"/>
                </a:ext>
              </a:extLst>
            </p:cNvPr>
            <p:cNvSpPr>
              <a:spLocks noEditPoints="1"/>
            </p:cNvSpPr>
            <p:nvPr/>
          </p:nvSpPr>
          <p:spPr bwMode="auto">
            <a:xfrm>
              <a:off x="4208463" y="-2308225"/>
              <a:ext cx="211137" cy="304800"/>
            </a:xfrm>
            <a:custGeom>
              <a:avLst/>
              <a:gdLst>
                <a:gd name="T0" fmla="*/ 68 w 70"/>
                <a:gd name="T1" fmla="*/ 74 h 100"/>
                <a:gd name="T2" fmla="*/ 56 w 70"/>
                <a:gd name="T3" fmla="*/ 74 h 100"/>
                <a:gd name="T4" fmla="*/ 56 w 70"/>
                <a:gd name="T5" fmla="*/ 98 h 100"/>
                <a:gd name="T6" fmla="*/ 54 w 70"/>
                <a:gd name="T7" fmla="*/ 100 h 100"/>
                <a:gd name="T8" fmla="*/ 46 w 70"/>
                <a:gd name="T9" fmla="*/ 100 h 100"/>
                <a:gd name="T10" fmla="*/ 44 w 70"/>
                <a:gd name="T11" fmla="*/ 98 h 100"/>
                <a:gd name="T12" fmla="*/ 44 w 70"/>
                <a:gd name="T13" fmla="*/ 74 h 100"/>
                <a:gd name="T14" fmla="*/ 5 w 70"/>
                <a:gd name="T15" fmla="*/ 74 h 100"/>
                <a:gd name="T16" fmla="*/ 0 w 70"/>
                <a:gd name="T17" fmla="*/ 68 h 100"/>
                <a:gd name="T18" fmla="*/ 0 w 70"/>
                <a:gd name="T19" fmla="*/ 63 h 100"/>
                <a:gd name="T20" fmla="*/ 1 w 70"/>
                <a:gd name="T21" fmla="*/ 58 h 100"/>
                <a:gd name="T22" fmla="*/ 41 w 70"/>
                <a:gd name="T23" fmla="*/ 2 h 100"/>
                <a:gd name="T24" fmla="*/ 45 w 70"/>
                <a:gd name="T25" fmla="*/ 0 h 100"/>
                <a:gd name="T26" fmla="*/ 52 w 70"/>
                <a:gd name="T27" fmla="*/ 0 h 100"/>
                <a:gd name="T28" fmla="*/ 56 w 70"/>
                <a:gd name="T29" fmla="*/ 3 h 100"/>
                <a:gd name="T30" fmla="*/ 56 w 70"/>
                <a:gd name="T31" fmla="*/ 63 h 100"/>
                <a:gd name="T32" fmla="*/ 68 w 70"/>
                <a:gd name="T33" fmla="*/ 63 h 100"/>
                <a:gd name="T34" fmla="*/ 70 w 70"/>
                <a:gd name="T35" fmla="*/ 66 h 100"/>
                <a:gd name="T36" fmla="*/ 70 w 70"/>
                <a:gd name="T37" fmla="*/ 71 h 100"/>
                <a:gd name="T38" fmla="*/ 68 w 70"/>
                <a:gd name="T39" fmla="*/ 74 h 100"/>
                <a:gd name="T40" fmla="*/ 44 w 70"/>
                <a:gd name="T41" fmla="*/ 17 h 100"/>
                <a:gd name="T42" fmla="*/ 43 w 70"/>
                <a:gd name="T43" fmla="*/ 17 h 100"/>
                <a:gd name="T44" fmla="*/ 43 w 70"/>
                <a:gd name="T45" fmla="*/ 17 h 100"/>
                <a:gd name="T46" fmla="*/ 42 w 70"/>
                <a:gd name="T47" fmla="*/ 17 h 100"/>
                <a:gd name="T48" fmla="*/ 11 w 70"/>
                <a:gd name="T49" fmla="*/ 61 h 100"/>
                <a:gd name="T50" fmla="*/ 11 w 70"/>
                <a:gd name="T51" fmla="*/ 63 h 100"/>
                <a:gd name="T52" fmla="*/ 12 w 70"/>
                <a:gd name="T53" fmla="*/ 63 h 100"/>
                <a:gd name="T54" fmla="*/ 44 w 70"/>
                <a:gd name="T55" fmla="*/ 63 h 100"/>
                <a:gd name="T56" fmla="*/ 44 w 70"/>
                <a:gd name="T57" fmla="*/ 1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 h="100">
                  <a:moveTo>
                    <a:pt x="68" y="74"/>
                  </a:moveTo>
                  <a:cubicBezTo>
                    <a:pt x="56" y="74"/>
                    <a:pt x="56" y="74"/>
                    <a:pt x="56" y="74"/>
                  </a:cubicBezTo>
                  <a:cubicBezTo>
                    <a:pt x="56" y="98"/>
                    <a:pt x="56" y="98"/>
                    <a:pt x="56" y="98"/>
                  </a:cubicBezTo>
                  <a:cubicBezTo>
                    <a:pt x="56" y="99"/>
                    <a:pt x="55" y="100"/>
                    <a:pt x="54" y="100"/>
                  </a:cubicBezTo>
                  <a:cubicBezTo>
                    <a:pt x="46" y="100"/>
                    <a:pt x="46" y="100"/>
                    <a:pt x="46" y="100"/>
                  </a:cubicBezTo>
                  <a:cubicBezTo>
                    <a:pt x="44" y="100"/>
                    <a:pt x="44" y="99"/>
                    <a:pt x="44" y="98"/>
                  </a:cubicBezTo>
                  <a:cubicBezTo>
                    <a:pt x="44" y="74"/>
                    <a:pt x="44" y="74"/>
                    <a:pt x="44" y="74"/>
                  </a:cubicBezTo>
                  <a:cubicBezTo>
                    <a:pt x="5" y="74"/>
                    <a:pt x="5" y="74"/>
                    <a:pt x="5" y="74"/>
                  </a:cubicBezTo>
                  <a:cubicBezTo>
                    <a:pt x="1" y="74"/>
                    <a:pt x="0" y="72"/>
                    <a:pt x="0" y="68"/>
                  </a:cubicBezTo>
                  <a:cubicBezTo>
                    <a:pt x="0" y="63"/>
                    <a:pt x="0" y="63"/>
                    <a:pt x="0" y="63"/>
                  </a:cubicBezTo>
                  <a:cubicBezTo>
                    <a:pt x="0" y="61"/>
                    <a:pt x="0" y="60"/>
                    <a:pt x="1" y="58"/>
                  </a:cubicBezTo>
                  <a:cubicBezTo>
                    <a:pt x="41" y="2"/>
                    <a:pt x="41" y="2"/>
                    <a:pt x="41" y="2"/>
                  </a:cubicBezTo>
                  <a:cubicBezTo>
                    <a:pt x="41" y="1"/>
                    <a:pt x="42" y="0"/>
                    <a:pt x="45" y="0"/>
                  </a:cubicBezTo>
                  <a:cubicBezTo>
                    <a:pt x="52" y="0"/>
                    <a:pt x="52" y="0"/>
                    <a:pt x="52" y="0"/>
                  </a:cubicBezTo>
                  <a:cubicBezTo>
                    <a:pt x="55" y="0"/>
                    <a:pt x="56" y="1"/>
                    <a:pt x="56" y="3"/>
                  </a:cubicBezTo>
                  <a:cubicBezTo>
                    <a:pt x="56" y="63"/>
                    <a:pt x="56" y="63"/>
                    <a:pt x="56" y="63"/>
                  </a:cubicBezTo>
                  <a:cubicBezTo>
                    <a:pt x="68" y="63"/>
                    <a:pt x="68" y="63"/>
                    <a:pt x="68" y="63"/>
                  </a:cubicBezTo>
                  <a:cubicBezTo>
                    <a:pt x="69" y="63"/>
                    <a:pt x="70" y="64"/>
                    <a:pt x="70" y="66"/>
                  </a:cubicBezTo>
                  <a:cubicBezTo>
                    <a:pt x="70" y="71"/>
                    <a:pt x="70" y="71"/>
                    <a:pt x="70" y="71"/>
                  </a:cubicBezTo>
                  <a:cubicBezTo>
                    <a:pt x="70" y="73"/>
                    <a:pt x="69" y="74"/>
                    <a:pt x="68" y="74"/>
                  </a:cubicBezTo>
                  <a:close/>
                  <a:moveTo>
                    <a:pt x="44" y="17"/>
                  </a:moveTo>
                  <a:cubicBezTo>
                    <a:pt x="44" y="17"/>
                    <a:pt x="44" y="17"/>
                    <a:pt x="43" y="17"/>
                  </a:cubicBezTo>
                  <a:cubicBezTo>
                    <a:pt x="43" y="17"/>
                    <a:pt x="43" y="17"/>
                    <a:pt x="43" y="17"/>
                  </a:cubicBezTo>
                  <a:cubicBezTo>
                    <a:pt x="43" y="17"/>
                    <a:pt x="42" y="17"/>
                    <a:pt x="42" y="17"/>
                  </a:cubicBezTo>
                  <a:cubicBezTo>
                    <a:pt x="11" y="61"/>
                    <a:pt x="11" y="61"/>
                    <a:pt x="11" y="61"/>
                  </a:cubicBezTo>
                  <a:cubicBezTo>
                    <a:pt x="11" y="62"/>
                    <a:pt x="11" y="62"/>
                    <a:pt x="11" y="63"/>
                  </a:cubicBezTo>
                  <a:cubicBezTo>
                    <a:pt x="11" y="63"/>
                    <a:pt x="11" y="63"/>
                    <a:pt x="12" y="63"/>
                  </a:cubicBezTo>
                  <a:cubicBezTo>
                    <a:pt x="44" y="63"/>
                    <a:pt x="44" y="63"/>
                    <a:pt x="44" y="63"/>
                  </a:cubicBezTo>
                  <a:lnTo>
                    <a:pt x="44" y="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8" name="Freeform 256">
              <a:extLst>
                <a:ext uri="{FF2B5EF4-FFF2-40B4-BE49-F238E27FC236}">
                  <a16:creationId xmlns="" xmlns:a16="http://schemas.microsoft.com/office/drawing/2014/main" id="{DCAED2C9-AAB6-4735-A52C-B7C61350C582}"/>
                </a:ext>
              </a:extLst>
            </p:cNvPr>
            <p:cNvSpPr>
              <a:spLocks/>
            </p:cNvSpPr>
            <p:nvPr/>
          </p:nvSpPr>
          <p:spPr bwMode="auto">
            <a:xfrm>
              <a:off x="4645025" y="-2374900"/>
              <a:ext cx="34925" cy="292100"/>
            </a:xfrm>
            <a:custGeom>
              <a:avLst/>
              <a:gdLst>
                <a:gd name="T0" fmla="*/ 11 w 12"/>
                <a:gd name="T1" fmla="*/ 95 h 96"/>
                <a:gd name="T2" fmla="*/ 10 w 12"/>
                <a:gd name="T3" fmla="*/ 96 h 96"/>
                <a:gd name="T4" fmla="*/ 3 w 12"/>
                <a:gd name="T5" fmla="*/ 96 h 96"/>
                <a:gd name="T6" fmla="*/ 1 w 12"/>
                <a:gd name="T7" fmla="*/ 95 h 96"/>
                <a:gd name="T8" fmla="*/ 0 w 12"/>
                <a:gd name="T9" fmla="*/ 93 h 96"/>
                <a:gd name="T10" fmla="*/ 0 w 12"/>
                <a:gd name="T11" fmla="*/ 2 h 96"/>
                <a:gd name="T12" fmla="*/ 1 w 12"/>
                <a:gd name="T13" fmla="*/ 1 h 96"/>
                <a:gd name="T14" fmla="*/ 3 w 12"/>
                <a:gd name="T15" fmla="*/ 0 h 96"/>
                <a:gd name="T16" fmla="*/ 10 w 12"/>
                <a:gd name="T17" fmla="*/ 0 h 96"/>
                <a:gd name="T18" fmla="*/ 11 w 12"/>
                <a:gd name="T19" fmla="*/ 1 h 96"/>
                <a:gd name="T20" fmla="*/ 12 w 12"/>
                <a:gd name="T21" fmla="*/ 2 h 96"/>
                <a:gd name="T22" fmla="*/ 12 w 12"/>
                <a:gd name="T23" fmla="*/ 93 h 96"/>
                <a:gd name="T24" fmla="*/ 11 w 12"/>
                <a:gd name="T25" fmla="*/ 9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96">
                  <a:moveTo>
                    <a:pt x="11" y="95"/>
                  </a:moveTo>
                  <a:cubicBezTo>
                    <a:pt x="11" y="95"/>
                    <a:pt x="10" y="96"/>
                    <a:pt x="10" y="96"/>
                  </a:cubicBezTo>
                  <a:cubicBezTo>
                    <a:pt x="3" y="96"/>
                    <a:pt x="3" y="96"/>
                    <a:pt x="3" y="96"/>
                  </a:cubicBezTo>
                  <a:cubicBezTo>
                    <a:pt x="2" y="96"/>
                    <a:pt x="1" y="95"/>
                    <a:pt x="1" y="95"/>
                  </a:cubicBezTo>
                  <a:cubicBezTo>
                    <a:pt x="0" y="94"/>
                    <a:pt x="0" y="94"/>
                    <a:pt x="0" y="93"/>
                  </a:cubicBezTo>
                  <a:cubicBezTo>
                    <a:pt x="0" y="2"/>
                    <a:pt x="0" y="2"/>
                    <a:pt x="0" y="2"/>
                  </a:cubicBezTo>
                  <a:cubicBezTo>
                    <a:pt x="0" y="2"/>
                    <a:pt x="0" y="1"/>
                    <a:pt x="1" y="1"/>
                  </a:cubicBezTo>
                  <a:cubicBezTo>
                    <a:pt x="1" y="0"/>
                    <a:pt x="2" y="0"/>
                    <a:pt x="3" y="0"/>
                  </a:cubicBezTo>
                  <a:cubicBezTo>
                    <a:pt x="10" y="0"/>
                    <a:pt x="10" y="0"/>
                    <a:pt x="10" y="0"/>
                  </a:cubicBezTo>
                  <a:cubicBezTo>
                    <a:pt x="10" y="0"/>
                    <a:pt x="11" y="0"/>
                    <a:pt x="11" y="1"/>
                  </a:cubicBezTo>
                  <a:cubicBezTo>
                    <a:pt x="12" y="1"/>
                    <a:pt x="12" y="2"/>
                    <a:pt x="12" y="2"/>
                  </a:cubicBezTo>
                  <a:cubicBezTo>
                    <a:pt x="12" y="93"/>
                    <a:pt x="12" y="93"/>
                    <a:pt x="12" y="93"/>
                  </a:cubicBezTo>
                  <a:cubicBezTo>
                    <a:pt x="12" y="94"/>
                    <a:pt x="12" y="94"/>
                    <a:pt x="11" y="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9" name="Freeform 257">
              <a:extLst>
                <a:ext uri="{FF2B5EF4-FFF2-40B4-BE49-F238E27FC236}">
                  <a16:creationId xmlns="" xmlns:a16="http://schemas.microsoft.com/office/drawing/2014/main" id="{08E068DC-4D96-4C72-B524-73B9352459C7}"/>
                </a:ext>
              </a:extLst>
            </p:cNvPr>
            <p:cNvSpPr>
              <a:spLocks noEditPoints="1"/>
            </p:cNvSpPr>
            <p:nvPr/>
          </p:nvSpPr>
          <p:spPr bwMode="auto">
            <a:xfrm>
              <a:off x="4743450" y="-2378075"/>
              <a:ext cx="36512" cy="295275"/>
            </a:xfrm>
            <a:custGeom>
              <a:avLst/>
              <a:gdLst>
                <a:gd name="T0" fmla="*/ 11 w 12"/>
                <a:gd name="T1" fmla="*/ 15 h 97"/>
                <a:gd name="T2" fmla="*/ 9 w 12"/>
                <a:gd name="T3" fmla="*/ 15 h 97"/>
                <a:gd name="T4" fmla="*/ 3 w 12"/>
                <a:gd name="T5" fmla="*/ 15 h 97"/>
                <a:gd name="T6" fmla="*/ 1 w 12"/>
                <a:gd name="T7" fmla="*/ 15 h 97"/>
                <a:gd name="T8" fmla="*/ 0 w 12"/>
                <a:gd name="T9" fmla="*/ 13 h 97"/>
                <a:gd name="T10" fmla="*/ 0 w 12"/>
                <a:gd name="T11" fmla="*/ 3 h 97"/>
                <a:gd name="T12" fmla="*/ 1 w 12"/>
                <a:gd name="T13" fmla="*/ 1 h 97"/>
                <a:gd name="T14" fmla="*/ 3 w 12"/>
                <a:gd name="T15" fmla="*/ 0 h 97"/>
                <a:gd name="T16" fmla="*/ 9 w 12"/>
                <a:gd name="T17" fmla="*/ 0 h 97"/>
                <a:gd name="T18" fmla="*/ 11 w 12"/>
                <a:gd name="T19" fmla="*/ 1 h 97"/>
                <a:gd name="T20" fmla="*/ 12 w 12"/>
                <a:gd name="T21" fmla="*/ 3 h 97"/>
                <a:gd name="T22" fmla="*/ 12 w 12"/>
                <a:gd name="T23" fmla="*/ 13 h 97"/>
                <a:gd name="T24" fmla="*/ 11 w 12"/>
                <a:gd name="T25" fmla="*/ 15 h 97"/>
                <a:gd name="T26" fmla="*/ 11 w 12"/>
                <a:gd name="T27" fmla="*/ 96 h 97"/>
                <a:gd name="T28" fmla="*/ 9 w 12"/>
                <a:gd name="T29" fmla="*/ 97 h 97"/>
                <a:gd name="T30" fmla="*/ 3 w 12"/>
                <a:gd name="T31" fmla="*/ 97 h 97"/>
                <a:gd name="T32" fmla="*/ 1 w 12"/>
                <a:gd name="T33" fmla="*/ 96 h 97"/>
                <a:gd name="T34" fmla="*/ 0 w 12"/>
                <a:gd name="T35" fmla="*/ 94 h 97"/>
                <a:gd name="T36" fmla="*/ 0 w 12"/>
                <a:gd name="T37" fmla="*/ 29 h 97"/>
                <a:gd name="T38" fmla="*/ 1 w 12"/>
                <a:gd name="T39" fmla="*/ 27 h 97"/>
                <a:gd name="T40" fmla="*/ 3 w 12"/>
                <a:gd name="T41" fmla="*/ 27 h 97"/>
                <a:gd name="T42" fmla="*/ 9 w 12"/>
                <a:gd name="T43" fmla="*/ 27 h 97"/>
                <a:gd name="T44" fmla="*/ 11 w 12"/>
                <a:gd name="T45" fmla="*/ 27 h 97"/>
                <a:gd name="T46" fmla="*/ 12 w 12"/>
                <a:gd name="T47" fmla="*/ 29 h 97"/>
                <a:gd name="T48" fmla="*/ 12 w 12"/>
                <a:gd name="T49" fmla="*/ 94 h 97"/>
                <a:gd name="T50" fmla="*/ 11 w 12"/>
                <a:gd name="T51" fmla="*/ 9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97">
                  <a:moveTo>
                    <a:pt x="11" y="15"/>
                  </a:moveTo>
                  <a:cubicBezTo>
                    <a:pt x="11" y="15"/>
                    <a:pt x="10" y="15"/>
                    <a:pt x="9" y="15"/>
                  </a:cubicBezTo>
                  <a:cubicBezTo>
                    <a:pt x="3" y="15"/>
                    <a:pt x="3" y="15"/>
                    <a:pt x="3" y="15"/>
                  </a:cubicBezTo>
                  <a:cubicBezTo>
                    <a:pt x="2" y="15"/>
                    <a:pt x="1" y="15"/>
                    <a:pt x="1" y="15"/>
                  </a:cubicBezTo>
                  <a:cubicBezTo>
                    <a:pt x="0" y="14"/>
                    <a:pt x="0" y="14"/>
                    <a:pt x="0" y="13"/>
                  </a:cubicBezTo>
                  <a:cubicBezTo>
                    <a:pt x="0" y="3"/>
                    <a:pt x="0" y="3"/>
                    <a:pt x="0" y="3"/>
                  </a:cubicBezTo>
                  <a:cubicBezTo>
                    <a:pt x="0" y="2"/>
                    <a:pt x="0" y="1"/>
                    <a:pt x="1" y="1"/>
                  </a:cubicBezTo>
                  <a:cubicBezTo>
                    <a:pt x="1" y="0"/>
                    <a:pt x="2" y="0"/>
                    <a:pt x="3" y="0"/>
                  </a:cubicBezTo>
                  <a:cubicBezTo>
                    <a:pt x="9" y="0"/>
                    <a:pt x="9" y="0"/>
                    <a:pt x="9" y="0"/>
                  </a:cubicBezTo>
                  <a:cubicBezTo>
                    <a:pt x="10" y="0"/>
                    <a:pt x="11" y="0"/>
                    <a:pt x="11" y="1"/>
                  </a:cubicBezTo>
                  <a:cubicBezTo>
                    <a:pt x="12" y="1"/>
                    <a:pt x="12" y="2"/>
                    <a:pt x="12" y="3"/>
                  </a:cubicBezTo>
                  <a:cubicBezTo>
                    <a:pt x="12" y="13"/>
                    <a:pt x="12" y="13"/>
                    <a:pt x="12" y="13"/>
                  </a:cubicBezTo>
                  <a:cubicBezTo>
                    <a:pt x="12" y="14"/>
                    <a:pt x="12" y="14"/>
                    <a:pt x="11" y="15"/>
                  </a:cubicBezTo>
                  <a:close/>
                  <a:moveTo>
                    <a:pt x="11" y="96"/>
                  </a:moveTo>
                  <a:cubicBezTo>
                    <a:pt x="10" y="96"/>
                    <a:pt x="10" y="97"/>
                    <a:pt x="9" y="97"/>
                  </a:cubicBezTo>
                  <a:cubicBezTo>
                    <a:pt x="3" y="97"/>
                    <a:pt x="3" y="97"/>
                    <a:pt x="3" y="97"/>
                  </a:cubicBezTo>
                  <a:cubicBezTo>
                    <a:pt x="2" y="97"/>
                    <a:pt x="1" y="96"/>
                    <a:pt x="1" y="96"/>
                  </a:cubicBezTo>
                  <a:cubicBezTo>
                    <a:pt x="0" y="95"/>
                    <a:pt x="0" y="95"/>
                    <a:pt x="0" y="94"/>
                  </a:cubicBezTo>
                  <a:cubicBezTo>
                    <a:pt x="0" y="29"/>
                    <a:pt x="0" y="29"/>
                    <a:pt x="0" y="29"/>
                  </a:cubicBezTo>
                  <a:cubicBezTo>
                    <a:pt x="0" y="28"/>
                    <a:pt x="0" y="28"/>
                    <a:pt x="1" y="27"/>
                  </a:cubicBezTo>
                  <a:cubicBezTo>
                    <a:pt x="1" y="27"/>
                    <a:pt x="2" y="27"/>
                    <a:pt x="3" y="27"/>
                  </a:cubicBezTo>
                  <a:cubicBezTo>
                    <a:pt x="9" y="27"/>
                    <a:pt x="9" y="27"/>
                    <a:pt x="9" y="27"/>
                  </a:cubicBezTo>
                  <a:cubicBezTo>
                    <a:pt x="10" y="27"/>
                    <a:pt x="10" y="27"/>
                    <a:pt x="11" y="27"/>
                  </a:cubicBezTo>
                  <a:cubicBezTo>
                    <a:pt x="11" y="28"/>
                    <a:pt x="12" y="28"/>
                    <a:pt x="12" y="29"/>
                  </a:cubicBezTo>
                  <a:cubicBezTo>
                    <a:pt x="12" y="94"/>
                    <a:pt x="12" y="94"/>
                    <a:pt x="12" y="94"/>
                  </a:cubicBezTo>
                  <a:cubicBezTo>
                    <a:pt x="12" y="95"/>
                    <a:pt x="11" y="95"/>
                    <a:pt x="11"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10" name="Freeform 258">
              <a:extLst>
                <a:ext uri="{FF2B5EF4-FFF2-40B4-BE49-F238E27FC236}">
                  <a16:creationId xmlns="" xmlns:a16="http://schemas.microsoft.com/office/drawing/2014/main" id="{7646E44F-1822-4293-9898-F070B5EE618A}"/>
                </a:ext>
              </a:extLst>
            </p:cNvPr>
            <p:cNvSpPr>
              <a:spLocks noEditPoints="1"/>
            </p:cNvSpPr>
            <p:nvPr/>
          </p:nvSpPr>
          <p:spPr bwMode="auto">
            <a:xfrm>
              <a:off x="4830763" y="-2374900"/>
              <a:ext cx="171450" cy="295275"/>
            </a:xfrm>
            <a:custGeom>
              <a:avLst/>
              <a:gdLst>
                <a:gd name="T0" fmla="*/ 56 w 57"/>
                <a:gd name="T1" fmla="*/ 93 h 97"/>
                <a:gd name="T2" fmla="*/ 54 w 57"/>
                <a:gd name="T3" fmla="*/ 94 h 97"/>
                <a:gd name="T4" fmla="*/ 41 w 57"/>
                <a:gd name="T5" fmla="*/ 96 h 97"/>
                <a:gd name="T6" fmla="*/ 29 w 57"/>
                <a:gd name="T7" fmla="*/ 97 h 97"/>
                <a:gd name="T8" fmla="*/ 16 w 57"/>
                <a:gd name="T9" fmla="*/ 94 h 97"/>
                <a:gd name="T10" fmla="*/ 7 w 57"/>
                <a:gd name="T11" fmla="*/ 88 h 97"/>
                <a:gd name="T12" fmla="*/ 2 w 57"/>
                <a:gd name="T13" fmla="*/ 78 h 97"/>
                <a:gd name="T14" fmla="*/ 0 w 57"/>
                <a:gd name="T15" fmla="*/ 65 h 97"/>
                <a:gd name="T16" fmla="*/ 0 w 57"/>
                <a:gd name="T17" fmla="*/ 56 h 97"/>
                <a:gd name="T18" fmla="*/ 7 w 57"/>
                <a:gd name="T19" fmla="*/ 33 h 97"/>
                <a:gd name="T20" fmla="*/ 29 w 57"/>
                <a:gd name="T21" fmla="*/ 25 h 97"/>
                <a:gd name="T22" fmla="*/ 37 w 57"/>
                <a:gd name="T23" fmla="*/ 25 h 97"/>
                <a:gd name="T24" fmla="*/ 45 w 57"/>
                <a:gd name="T25" fmla="*/ 26 h 97"/>
                <a:gd name="T26" fmla="*/ 45 w 57"/>
                <a:gd name="T27" fmla="*/ 2 h 97"/>
                <a:gd name="T28" fmla="*/ 46 w 57"/>
                <a:gd name="T29" fmla="*/ 1 h 97"/>
                <a:gd name="T30" fmla="*/ 47 w 57"/>
                <a:gd name="T31" fmla="*/ 0 h 97"/>
                <a:gd name="T32" fmla="*/ 54 w 57"/>
                <a:gd name="T33" fmla="*/ 0 h 97"/>
                <a:gd name="T34" fmla="*/ 56 w 57"/>
                <a:gd name="T35" fmla="*/ 1 h 97"/>
                <a:gd name="T36" fmla="*/ 57 w 57"/>
                <a:gd name="T37" fmla="*/ 2 h 97"/>
                <a:gd name="T38" fmla="*/ 57 w 57"/>
                <a:gd name="T39" fmla="*/ 91 h 97"/>
                <a:gd name="T40" fmla="*/ 56 w 57"/>
                <a:gd name="T41" fmla="*/ 93 h 97"/>
                <a:gd name="T42" fmla="*/ 45 w 57"/>
                <a:gd name="T43" fmla="*/ 35 h 97"/>
                <a:gd name="T44" fmla="*/ 37 w 57"/>
                <a:gd name="T45" fmla="*/ 35 h 97"/>
                <a:gd name="T46" fmla="*/ 29 w 57"/>
                <a:gd name="T47" fmla="*/ 35 h 97"/>
                <a:gd name="T48" fmla="*/ 16 w 57"/>
                <a:gd name="T49" fmla="*/ 40 h 97"/>
                <a:gd name="T50" fmla="*/ 12 w 57"/>
                <a:gd name="T51" fmla="*/ 56 h 97"/>
                <a:gd name="T52" fmla="*/ 12 w 57"/>
                <a:gd name="T53" fmla="*/ 65 h 97"/>
                <a:gd name="T54" fmla="*/ 16 w 57"/>
                <a:gd name="T55" fmla="*/ 81 h 97"/>
                <a:gd name="T56" fmla="*/ 29 w 57"/>
                <a:gd name="T57" fmla="*/ 87 h 97"/>
                <a:gd name="T58" fmla="*/ 37 w 57"/>
                <a:gd name="T59" fmla="*/ 86 h 97"/>
                <a:gd name="T60" fmla="*/ 45 w 57"/>
                <a:gd name="T61" fmla="*/ 86 h 97"/>
                <a:gd name="T62" fmla="*/ 45 w 57"/>
                <a:gd name="T63" fmla="*/ 3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97">
                  <a:moveTo>
                    <a:pt x="56" y="93"/>
                  </a:moveTo>
                  <a:cubicBezTo>
                    <a:pt x="56" y="94"/>
                    <a:pt x="55" y="94"/>
                    <a:pt x="54" y="94"/>
                  </a:cubicBezTo>
                  <a:cubicBezTo>
                    <a:pt x="50" y="95"/>
                    <a:pt x="46" y="96"/>
                    <a:pt x="41" y="96"/>
                  </a:cubicBezTo>
                  <a:cubicBezTo>
                    <a:pt x="37" y="96"/>
                    <a:pt x="33" y="97"/>
                    <a:pt x="29" y="97"/>
                  </a:cubicBezTo>
                  <a:cubicBezTo>
                    <a:pt x="24" y="97"/>
                    <a:pt x="20" y="96"/>
                    <a:pt x="16" y="94"/>
                  </a:cubicBezTo>
                  <a:cubicBezTo>
                    <a:pt x="13" y="93"/>
                    <a:pt x="10" y="91"/>
                    <a:pt x="7" y="88"/>
                  </a:cubicBezTo>
                  <a:cubicBezTo>
                    <a:pt x="5" y="85"/>
                    <a:pt x="3" y="82"/>
                    <a:pt x="2" y="78"/>
                  </a:cubicBezTo>
                  <a:cubicBezTo>
                    <a:pt x="1" y="74"/>
                    <a:pt x="0" y="70"/>
                    <a:pt x="0" y="65"/>
                  </a:cubicBezTo>
                  <a:cubicBezTo>
                    <a:pt x="0" y="56"/>
                    <a:pt x="0" y="56"/>
                    <a:pt x="0" y="56"/>
                  </a:cubicBezTo>
                  <a:cubicBezTo>
                    <a:pt x="0" y="46"/>
                    <a:pt x="3" y="38"/>
                    <a:pt x="7" y="33"/>
                  </a:cubicBezTo>
                  <a:cubicBezTo>
                    <a:pt x="12" y="27"/>
                    <a:pt x="19" y="25"/>
                    <a:pt x="29" y="25"/>
                  </a:cubicBezTo>
                  <a:cubicBezTo>
                    <a:pt x="31" y="25"/>
                    <a:pt x="34" y="25"/>
                    <a:pt x="37" y="25"/>
                  </a:cubicBezTo>
                  <a:cubicBezTo>
                    <a:pt x="40" y="25"/>
                    <a:pt x="42" y="26"/>
                    <a:pt x="45" y="26"/>
                  </a:cubicBezTo>
                  <a:cubicBezTo>
                    <a:pt x="45" y="2"/>
                    <a:pt x="45" y="2"/>
                    <a:pt x="45" y="2"/>
                  </a:cubicBezTo>
                  <a:cubicBezTo>
                    <a:pt x="45" y="2"/>
                    <a:pt x="45" y="1"/>
                    <a:pt x="46" y="1"/>
                  </a:cubicBezTo>
                  <a:cubicBezTo>
                    <a:pt x="46" y="0"/>
                    <a:pt x="47" y="0"/>
                    <a:pt x="47" y="0"/>
                  </a:cubicBezTo>
                  <a:cubicBezTo>
                    <a:pt x="54" y="0"/>
                    <a:pt x="54" y="0"/>
                    <a:pt x="54" y="0"/>
                  </a:cubicBezTo>
                  <a:cubicBezTo>
                    <a:pt x="55" y="0"/>
                    <a:pt x="56" y="0"/>
                    <a:pt x="56" y="1"/>
                  </a:cubicBezTo>
                  <a:cubicBezTo>
                    <a:pt x="56" y="1"/>
                    <a:pt x="57" y="2"/>
                    <a:pt x="57" y="2"/>
                  </a:cubicBezTo>
                  <a:cubicBezTo>
                    <a:pt x="57" y="91"/>
                    <a:pt x="57" y="91"/>
                    <a:pt x="57" y="91"/>
                  </a:cubicBezTo>
                  <a:cubicBezTo>
                    <a:pt x="57" y="92"/>
                    <a:pt x="57" y="93"/>
                    <a:pt x="56" y="93"/>
                  </a:cubicBezTo>
                  <a:close/>
                  <a:moveTo>
                    <a:pt x="45" y="35"/>
                  </a:moveTo>
                  <a:cubicBezTo>
                    <a:pt x="43" y="35"/>
                    <a:pt x="40" y="35"/>
                    <a:pt x="37" y="35"/>
                  </a:cubicBezTo>
                  <a:cubicBezTo>
                    <a:pt x="34" y="35"/>
                    <a:pt x="31" y="35"/>
                    <a:pt x="29" y="35"/>
                  </a:cubicBezTo>
                  <a:cubicBezTo>
                    <a:pt x="23" y="35"/>
                    <a:pt x="18" y="36"/>
                    <a:pt x="16" y="40"/>
                  </a:cubicBezTo>
                  <a:cubicBezTo>
                    <a:pt x="13" y="44"/>
                    <a:pt x="12" y="49"/>
                    <a:pt x="12" y="56"/>
                  </a:cubicBezTo>
                  <a:cubicBezTo>
                    <a:pt x="12" y="65"/>
                    <a:pt x="12" y="65"/>
                    <a:pt x="12" y="65"/>
                  </a:cubicBezTo>
                  <a:cubicBezTo>
                    <a:pt x="12" y="72"/>
                    <a:pt x="13" y="77"/>
                    <a:pt x="16" y="81"/>
                  </a:cubicBezTo>
                  <a:cubicBezTo>
                    <a:pt x="18" y="85"/>
                    <a:pt x="23" y="87"/>
                    <a:pt x="29" y="87"/>
                  </a:cubicBezTo>
                  <a:cubicBezTo>
                    <a:pt x="32" y="87"/>
                    <a:pt x="34" y="87"/>
                    <a:pt x="37" y="86"/>
                  </a:cubicBezTo>
                  <a:cubicBezTo>
                    <a:pt x="40" y="86"/>
                    <a:pt x="43" y="86"/>
                    <a:pt x="45" y="86"/>
                  </a:cubicBezTo>
                  <a:lnTo>
                    <a:pt x="45" y="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11" name="Freeform 259">
              <a:extLst>
                <a:ext uri="{FF2B5EF4-FFF2-40B4-BE49-F238E27FC236}">
                  <a16:creationId xmlns="" xmlns:a16="http://schemas.microsoft.com/office/drawing/2014/main" id="{06C0837F-8329-4EF6-9B3A-B86655E862AD}"/>
                </a:ext>
              </a:extLst>
            </p:cNvPr>
            <p:cNvSpPr>
              <a:spLocks noEditPoints="1"/>
            </p:cNvSpPr>
            <p:nvPr/>
          </p:nvSpPr>
          <p:spPr bwMode="auto">
            <a:xfrm>
              <a:off x="5046663" y="-2298700"/>
              <a:ext cx="180975" cy="219075"/>
            </a:xfrm>
            <a:custGeom>
              <a:avLst/>
              <a:gdLst>
                <a:gd name="T0" fmla="*/ 57 w 60"/>
                <a:gd name="T1" fmla="*/ 39 h 72"/>
                <a:gd name="T2" fmla="*/ 12 w 60"/>
                <a:gd name="T3" fmla="*/ 39 h 72"/>
                <a:gd name="T4" fmla="*/ 12 w 60"/>
                <a:gd name="T5" fmla="*/ 41 h 72"/>
                <a:gd name="T6" fmla="*/ 17 w 60"/>
                <a:gd name="T7" fmla="*/ 57 h 72"/>
                <a:gd name="T8" fmla="*/ 31 w 60"/>
                <a:gd name="T9" fmla="*/ 62 h 72"/>
                <a:gd name="T10" fmla="*/ 43 w 60"/>
                <a:gd name="T11" fmla="*/ 61 h 72"/>
                <a:gd name="T12" fmla="*/ 55 w 60"/>
                <a:gd name="T13" fmla="*/ 60 h 72"/>
                <a:gd name="T14" fmla="*/ 55 w 60"/>
                <a:gd name="T15" fmla="*/ 60 h 72"/>
                <a:gd name="T16" fmla="*/ 57 w 60"/>
                <a:gd name="T17" fmla="*/ 61 h 72"/>
                <a:gd name="T18" fmla="*/ 57 w 60"/>
                <a:gd name="T19" fmla="*/ 62 h 72"/>
                <a:gd name="T20" fmla="*/ 57 w 60"/>
                <a:gd name="T21" fmla="*/ 66 h 72"/>
                <a:gd name="T22" fmla="*/ 57 w 60"/>
                <a:gd name="T23" fmla="*/ 68 h 72"/>
                <a:gd name="T24" fmla="*/ 55 w 60"/>
                <a:gd name="T25" fmla="*/ 69 h 72"/>
                <a:gd name="T26" fmla="*/ 43 w 60"/>
                <a:gd name="T27" fmla="*/ 71 h 72"/>
                <a:gd name="T28" fmla="*/ 31 w 60"/>
                <a:gd name="T29" fmla="*/ 72 h 72"/>
                <a:gd name="T30" fmla="*/ 20 w 60"/>
                <a:gd name="T31" fmla="*/ 70 h 72"/>
                <a:gd name="T32" fmla="*/ 10 w 60"/>
                <a:gd name="T33" fmla="*/ 65 h 72"/>
                <a:gd name="T34" fmla="*/ 3 w 60"/>
                <a:gd name="T35" fmla="*/ 56 h 72"/>
                <a:gd name="T36" fmla="*/ 0 w 60"/>
                <a:gd name="T37" fmla="*/ 41 h 72"/>
                <a:gd name="T38" fmla="*/ 0 w 60"/>
                <a:gd name="T39" fmla="*/ 29 h 72"/>
                <a:gd name="T40" fmla="*/ 8 w 60"/>
                <a:gd name="T41" fmla="*/ 8 h 72"/>
                <a:gd name="T42" fmla="*/ 30 w 60"/>
                <a:gd name="T43" fmla="*/ 0 h 72"/>
                <a:gd name="T44" fmla="*/ 43 w 60"/>
                <a:gd name="T45" fmla="*/ 2 h 72"/>
                <a:gd name="T46" fmla="*/ 52 w 60"/>
                <a:gd name="T47" fmla="*/ 8 h 72"/>
                <a:gd name="T48" fmla="*/ 58 w 60"/>
                <a:gd name="T49" fmla="*/ 17 h 72"/>
                <a:gd name="T50" fmla="*/ 60 w 60"/>
                <a:gd name="T51" fmla="*/ 29 h 72"/>
                <a:gd name="T52" fmla="*/ 60 w 60"/>
                <a:gd name="T53" fmla="*/ 36 h 72"/>
                <a:gd name="T54" fmla="*/ 57 w 60"/>
                <a:gd name="T55" fmla="*/ 39 h 72"/>
                <a:gd name="T56" fmla="*/ 48 w 60"/>
                <a:gd name="T57" fmla="*/ 29 h 72"/>
                <a:gd name="T58" fmla="*/ 43 w 60"/>
                <a:gd name="T59" fmla="*/ 14 h 72"/>
                <a:gd name="T60" fmla="*/ 30 w 60"/>
                <a:gd name="T61" fmla="*/ 10 h 72"/>
                <a:gd name="T62" fmla="*/ 17 w 60"/>
                <a:gd name="T63" fmla="*/ 14 h 72"/>
                <a:gd name="T64" fmla="*/ 12 w 60"/>
                <a:gd name="T65" fmla="*/ 29 h 72"/>
                <a:gd name="T66" fmla="*/ 12 w 60"/>
                <a:gd name="T67" fmla="*/ 31 h 72"/>
                <a:gd name="T68" fmla="*/ 48 w 60"/>
                <a:gd name="T69" fmla="*/ 31 h 72"/>
                <a:gd name="T70" fmla="*/ 48 w 60"/>
                <a:gd name="T71" fmla="*/ 2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2">
                  <a:moveTo>
                    <a:pt x="57" y="39"/>
                  </a:moveTo>
                  <a:cubicBezTo>
                    <a:pt x="12" y="39"/>
                    <a:pt x="12" y="39"/>
                    <a:pt x="12" y="39"/>
                  </a:cubicBezTo>
                  <a:cubicBezTo>
                    <a:pt x="12" y="41"/>
                    <a:pt x="12" y="41"/>
                    <a:pt x="12" y="41"/>
                  </a:cubicBezTo>
                  <a:cubicBezTo>
                    <a:pt x="12" y="49"/>
                    <a:pt x="14" y="54"/>
                    <a:pt x="17" y="57"/>
                  </a:cubicBezTo>
                  <a:cubicBezTo>
                    <a:pt x="20" y="60"/>
                    <a:pt x="25" y="62"/>
                    <a:pt x="31" y="62"/>
                  </a:cubicBezTo>
                  <a:cubicBezTo>
                    <a:pt x="35" y="62"/>
                    <a:pt x="39" y="62"/>
                    <a:pt x="43" y="61"/>
                  </a:cubicBezTo>
                  <a:cubicBezTo>
                    <a:pt x="48" y="61"/>
                    <a:pt x="51" y="61"/>
                    <a:pt x="55" y="60"/>
                  </a:cubicBezTo>
                  <a:cubicBezTo>
                    <a:pt x="55" y="60"/>
                    <a:pt x="55" y="60"/>
                    <a:pt x="55" y="60"/>
                  </a:cubicBezTo>
                  <a:cubicBezTo>
                    <a:pt x="56" y="60"/>
                    <a:pt x="56" y="60"/>
                    <a:pt x="57" y="61"/>
                  </a:cubicBezTo>
                  <a:cubicBezTo>
                    <a:pt x="57" y="61"/>
                    <a:pt x="57" y="61"/>
                    <a:pt x="57" y="62"/>
                  </a:cubicBezTo>
                  <a:cubicBezTo>
                    <a:pt x="57" y="66"/>
                    <a:pt x="57" y="66"/>
                    <a:pt x="57" y="66"/>
                  </a:cubicBezTo>
                  <a:cubicBezTo>
                    <a:pt x="57" y="67"/>
                    <a:pt x="57" y="68"/>
                    <a:pt x="57" y="68"/>
                  </a:cubicBezTo>
                  <a:cubicBezTo>
                    <a:pt x="56" y="69"/>
                    <a:pt x="56" y="69"/>
                    <a:pt x="55" y="69"/>
                  </a:cubicBezTo>
                  <a:cubicBezTo>
                    <a:pt x="51" y="70"/>
                    <a:pt x="47" y="71"/>
                    <a:pt x="43" y="71"/>
                  </a:cubicBezTo>
                  <a:cubicBezTo>
                    <a:pt x="39" y="71"/>
                    <a:pt x="35" y="72"/>
                    <a:pt x="31" y="72"/>
                  </a:cubicBezTo>
                  <a:cubicBezTo>
                    <a:pt x="27" y="72"/>
                    <a:pt x="23" y="71"/>
                    <a:pt x="20" y="70"/>
                  </a:cubicBezTo>
                  <a:cubicBezTo>
                    <a:pt x="16" y="69"/>
                    <a:pt x="13" y="67"/>
                    <a:pt x="10" y="65"/>
                  </a:cubicBezTo>
                  <a:cubicBezTo>
                    <a:pt x="7" y="63"/>
                    <a:pt x="5" y="60"/>
                    <a:pt x="3" y="56"/>
                  </a:cubicBezTo>
                  <a:cubicBezTo>
                    <a:pt x="1" y="52"/>
                    <a:pt x="0" y="47"/>
                    <a:pt x="0" y="41"/>
                  </a:cubicBezTo>
                  <a:cubicBezTo>
                    <a:pt x="0" y="29"/>
                    <a:pt x="0" y="29"/>
                    <a:pt x="0" y="29"/>
                  </a:cubicBezTo>
                  <a:cubicBezTo>
                    <a:pt x="0" y="20"/>
                    <a:pt x="3" y="13"/>
                    <a:pt x="8" y="8"/>
                  </a:cubicBezTo>
                  <a:cubicBezTo>
                    <a:pt x="13" y="2"/>
                    <a:pt x="20" y="0"/>
                    <a:pt x="30" y="0"/>
                  </a:cubicBezTo>
                  <a:cubicBezTo>
                    <a:pt x="35" y="0"/>
                    <a:pt x="39" y="0"/>
                    <a:pt x="43" y="2"/>
                  </a:cubicBezTo>
                  <a:cubicBezTo>
                    <a:pt x="47" y="3"/>
                    <a:pt x="50" y="5"/>
                    <a:pt x="52" y="8"/>
                  </a:cubicBezTo>
                  <a:cubicBezTo>
                    <a:pt x="55" y="10"/>
                    <a:pt x="56" y="14"/>
                    <a:pt x="58" y="17"/>
                  </a:cubicBezTo>
                  <a:cubicBezTo>
                    <a:pt x="59" y="21"/>
                    <a:pt x="60" y="25"/>
                    <a:pt x="60" y="29"/>
                  </a:cubicBezTo>
                  <a:cubicBezTo>
                    <a:pt x="60" y="36"/>
                    <a:pt x="60" y="36"/>
                    <a:pt x="60" y="36"/>
                  </a:cubicBezTo>
                  <a:cubicBezTo>
                    <a:pt x="60" y="38"/>
                    <a:pt x="59" y="39"/>
                    <a:pt x="57" y="39"/>
                  </a:cubicBezTo>
                  <a:close/>
                  <a:moveTo>
                    <a:pt x="48" y="29"/>
                  </a:moveTo>
                  <a:cubicBezTo>
                    <a:pt x="48" y="22"/>
                    <a:pt x="46" y="17"/>
                    <a:pt x="43" y="14"/>
                  </a:cubicBezTo>
                  <a:cubicBezTo>
                    <a:pt x="40" y="11"/>
                    <a:pt x="36" y="10"/>
                    <a:pt x="30" y="10"/>
                  </a:cubicBezTo>
                  <a:cubicBezTo>
                    <a:pt x="24" y="10"/>
                    <a:pt x="20" y="11"/>
                    <a:pt x="17" y="14"/>
                  </a:cubicBezTo>
                  <a:cubicBezTo>
                    <a:pt x="14" y="18"/>
                    <a:pt x="12" y="23"/>
                    <a:pt x="12" y="29"/>
                  </a:cubicBezTo>
                  <a:cubicBezTo>
                    <a:pt x="12" y="31"/>
                    <a:pt x="12" y="31"/>
                    <a:pt x="12" y="31"/>
                  </a:cubicBezTo>
                  <a:cubicBezTo>
                    <a:pt x="48" y="31"/>
                    <a:pt x="48" y="31"/>
                    <a:pt x="48" y="31"/>
                  </a:cubicBezTo>
                  <a:lnTo>
                    <a:pt x="48" y="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12" name="Freeform 260">
              <a:extLst>
                <a:ext uri="{FF2B5EF4-FFF2-40B4-BE49-F238E27FC236}">
                  <a16:creationId xmlns="" xmlns:a16="http://schemas.microsoft.com/office/drawing/2014/main" id="{0FBC820F-DD1D-46E8-9F20-E4128C71C8EE}"/>
                </a:ext>
              </a:extLst>
            </p:cNvPr>
            <p:cNvSpPr>
              <a:spLocks/>
            </p:cNvSpPr>
            <p:nvPr/>
          </p:nvSpPr>
          <p:spPr bwMode="auto">
            <a:xfrm>
              <a:off x="5265738" y="-2298700"/>
              <a:ext cx="147637" cy="219075"/>
            </a:xfrm>
            <a:custGeom>
              <a:avLst/>
              <a:gdLst>
                <a:gd name="T0" fmla="*/ 49 w 49"/>
                <a:gd name="T1" fmla="*/ 53 h 72"/>
                <a:gd name="T2" fmla="*/ 42 w 49"/>
                <a:gd name="T3" fmla="*/ 67 h 72"/>
                <a:gd name="T4" fmla="*/ 24 w 49"/>
                <a:gd name="T5" fmla="*/ 72 h 72"/>
                <a:gd name="T6" fmla="*/ 20 w 49"/>
                <a:gd name="T7" fmla="*/ 71 h 72"/>
                <a:gd name="T8" fmla="*/ 14 w 49"/>
                <a:gd name="T9" fmla="*/ 71 h 72"/>
                <a:gd name="T10" fmla="*/ 8 w 49"/>
                <a:gd name="T11" fmla="*/ 70 h 72"/>
                <a:gd name="T12" fmla="*/ 3 w 49"/>
                <a:gd name="T13" fmla="*/ 70 h 72"/>
                <a:gd name="T14" fmla="*/ 0 w 49"/>
                <a:gd name="T15" fmla="*/ 67 h 72"/>
                <a:gd name="T16" fmla="*/ 0 w 49"/>
                <a:gd name="T17" fmla="*/ 63 h 72"/>
                <a:gd name="T18" fmla="*/ 1 w 49"/>
                <a:gd name="T19" fmla="*/ 61 h 72"/>
                <a:gd name="T20" fmla="*/ 3 w 49"/>
                <a:gd name="T21" fmla="*/ 61 h 72"/>
                <a:gd name="T22" fmla="*/ 3 w 49"/>
                <a:gd name="T23" fmla="*/ 61 h 72"/>
                <a:gd name="T24" fmla="*/ 8 w 49"/>
                <a:gd name="T25" fmla="*/ 61 h 72"/>
                <a:gd name="T26" fmla="*/ 14 w 49"/>
                <a:gd name="T27" fmla="*/ 62 h 72"/>
                <a:gd name="T28" fmla="*/ 20 w 49"/>
                <a:gd name="T29" fmla="*/ 62 h 72"/>
                <a:gd name="T30" fmla="*/ 24 w 49"/>
                <a:gd name="T31" fmla="*/ 62 h 72"/>
                <a:gd name="T32" fmla="*/ 34 w 49"/>
                <a:gd name="T33" fmla="*/ 60 h 72"/>
                <a:gd name="T34" fmla="*/ 37 w 49"/>
                <a:gd name="T35" fmla="*/ 53 h 72"/>
                <a:gd name="T36" fmla="*/ 35 w 49"/>
                <a:gd name="T37" fmla="*/ 48 h 72"/>
                <a:gd name="T38" fmla="*/ 27 w 49"/>
                <a:gd name="T39" fmla="*/ 42 h 72"/>
                <a:gd name="T40" fmla="*/ 14 w 49"/>
                <a:gd name="T41" fmla="*/ 35 h 72"/>
                <a:gd name="T42" fmla="*/ 4 w 49"/>
                <a:gd name="T43" fmla="*/ 27 h 72"/>
                <a:gd name="T44" fmla="*/ 0 w 49"/>
                <a:gd name="T45" fmla="*/ 17 h 72"/>
                <a:gd name="T46" fmla="*/ 2 w 49"/>
                <a:gd name="T47" fmla="*/ 8 h 72"/>
                <a:gd name="T48" fmla="*/ 7 w 49"/>
                <a:gd name="T49" fmla="*/ 3 h 72"/>
                <a:gd name="T50" fmla="*/ 15 w 49"/>
                <a:gd name="T51" fmla="*/ 0 h 72"/>
                <a:gd name="T52" fmla="*/ 24 w 49"/>
                <a:gd name="T53" fmla="*/ 0 h 72"/>
                <a:gd name="T54" fmla="*/ 35 w 49"/>
                <a:gd name="T55" fmla="*/ 0 h 72"/>
                <a:gd name="T56" fmla="*/ 45 w 49"/>
                <a:gd name="T57" fmla="*/ 1 h 72"/>
                <a:gd name="T58" fmla="*/ 48 w 49"/>
                <a:gd name="T59" fmla="*/ 4 h 72"/>
                <a:gd name="T60" fmla="*/ 48 w 49"/>
                <a:gd name="T61" fmla="*/ 8 h 72"/>
                <a:gd name="T62" fmla="*/ 45 w 49"/>
                <a:gd name="T63" fmla="*/ 10 h 72"/>
                <a:gd name="T64" fmla="*/ 45 w 49"/>
                <a:gd name="T65" fmla="*/ 10 h 72"/>
                <a:gd name="T66" fmla="*/ 36 w 49"/>
                <a:gd name="T67" fmla="*/ 10 h 72"/>
                <a:gd name="T68" fmla="*/ 24 w 49"/>
                <a:gd name="T69" fmla="*/ 9 h 72"/>
                <a:gd name="T70" fmla="*/ 15 w 49"/>
                <a:gd name="T71" fmla="*/ 11 h 72"/>
                <a:gd name="T72" fmla="*/ 12 w 49"/>
                <a:gd name="T73" fmla="*/ 17 h 72"/>
                <a:gd name="T74" fmla="*/ 14 w 49"/>
                <a:gd name="T75" fmla="*/ 22 h 72"/>
                <a:gd name="T76" fmla="*/ 21 w 49"/>
                <a:gd name="T77" fmla="*/ 26 h 72"/>
                <a:gd name="T78" fmla="*/ 34 w 49"/>
                <a:gd name="T79" fmla="*/ 34 h 72"/>
                <a:gd name="T80" fmla="*/ 46 w 49"/>
                <a:gd name="T81" fmla="*/ 43 h 72"/>
                <a:gd name="T82" fmla="*/ 49 w 49"/>
                <a:gd name="T83" fmla="*/ 5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 h="72">
                  <a:moveTo>
                    <a:pt x="49" y="53"/>
                  </a:moveTo>
                  <a:cubicBezTo>
                    <a:pt x="49" y="59"/>
                    <a:pt x="47" y="64"/>
                    <a:pt x="42" y="67"/>
                  </a:cubicBezTo>
                  <a:cubicBezTo>
                    <a:pt x="38" y="70"/>
                    <a:pt x="32" y="72"/>
                    <a:pt x="24" y="72"/>
                  </a:cubicBezTo>
                  <a:cubicBezTo>
                    <a:pt x="23" y="72"/>
                    <a:pt x="21" y="71"/>
                    <a:pt x="20" y="71"/>
                  </a:cubicBezTo>
                  <a:cubicBezTo>
                    <a:pt x="18" y="71"/>
                    <a:pt x="16" y="71"/>
                    <a:pt x="14" y="71"/>
                  </a:cubicBezTo>
                  <a:cubicBezTo>
                    <a:pt x="12" y="71"/>
                    <a:pt x="10" y="71"/>
                    <a:pt x="8" y="70"/>
                  </a:cubicBezTo>
                  <a:cubicBezTo>
                    <a:pt x="6" y="70"/>
                    <a:pt x="5" y="70"/>
                    <a:pt x="3" y="70"/>
                  </a:cubicBezTo>
                  <a:cubicBezTo>
                    <a:pt x="1" y="69"/>
                    <a:pt x="0" y="68"/>
                    <a:pt x="0" y="67"/>
                  </a:cubicBezTo>
                  <a:cubicBezTo>
                    <a:pt x="0" y="63"/>
                    <a:pt x="0" y="63"/>
                    <a:pt x="0" y="63"/>
                  </a:cubicBezTo>
                  <a:cubicBezTo>
                    <a:pt x="0" y="62"/>
                    <a:pt x="0" y="62"/>
                    <a:pt x="1" y="61"/>
                  </a:cubicBezTo>
                  <a:cubicBezTo>
                    <a:pt x="1" y="61"/>
                    <a:pt x="2" y="61"/>
                    <a:pt x="3" y="61"/>
                  </a:cubicBezTo>
                  <a:cubicBezTo>
                    <a:pt x="3" y="61"/>
                    <a:pt x="3" y="61"/>
                    <a:pt x="3" y="61"/>
                  </a:cubicBezTo>
                  <a:cubicBezTo>
                    <a:pt x="5" y="61"/>
                    <a:pt x="6" y="61"/>
                    <a:pt x="8" y="61"/>
                  </a:cubicBezTo>
                  <a:cubicBezTo>
                    <a:pt x="10" y="61"/>
                    <a:pt x="12" y="62"/>
                    <a:pt x="14" y="62"/>
                  </a:cubicBezTo>
                  <a:cubicBezTo>
                    <a:pt x="16" y="62"/>
                    <a:pt x="18" y="62"/>
                    <a:pt x="20" y="62"/>
                  </a:cubicBezTo>
                  <a:cubicBezTo>
                    <a:pt x="21" y="62"/>
                    <a:pt x="23" y="62"/>
                    <a:pt x="24" y="62"/>
                  </a:cubicBezTo>
                  <a:cubicBezTo>
                    <a:pt x="28" y="62"/>
                    <a:pt x="32" y="61"/>
                    <a:pt x="34" y="60"/>
                  </a:cubicBezTo>
                  <a:cubicBezTo>
                    <a:pt x="36" y="59"/>
                    <a:pt x="37" y="57"/>
                    <a:pt x="37" y="53"/>
                  </a:cubicBezTo>
                  <a:cubicBezTo>
                    <a:pt x="37" y="51"/>
                    <a:pt x="37" y="49"/>
                    <a:pt x="35" y="48"/>
                  </a:cubicBezTo>
                  <a:cubicBezTo>
                    <a:pt x="34" y="47"/>
                    <a:pt x="31" y="45"/>
                    <a:pt x="27" y="42"/>
                  </a:cubicBezTo>
                  <a:cubicBezTo>
                    <a:pt x="14" y="35"/>
                    <a:pt x="14" y="35"/>
                    <a:pt x="14" y="35"/>
                  </a:cubicBezTo>
                  <a:cubicBezTo>
                    <a:pt x="10" y="32"/>
                    <a:pt x="6" y="30"/>
                    <a:pt x="4" y="27"/>
                  </a:cubicBezTo>
                  <a:cubicBezTo>
                    <a:pt x="1" y="24"/>
                    <a:pt x="0" y="21"/>
                    <a:pt x="0" y="17"/>
                  </a:cubicBezTo>
                  <a:cubicBezTo>
                    <a:pt x="0" y="13"/>
                    <a:pt x="1" y="11"/>
                    <a:pt x="2" y="8"/>
                  </a:cubicBezTo>
                  <a:cubicBezTo>
                    <a:pt x="3" y="6"/>
                    <a:pt x="5" y="5"/>
                    <a:pt x="7" y="3"/>
                  </a:cubicBezTo>
                  <a:cubicBezTo>
                    <a:pt x="9" y="2"/>
                    <a:pt x="12" y="1"/>
                    <a:pt x="15" y="0"/>
                  </a:cubicBezTo>
                  <a:cubicBezTo>
                    <a:pt x="18" y="0"/>
                    <a:pt x="21" y="0"/>
                    <a:pt x="24" y="0"/>
                  </a:cubicBezTo>
                  <a:cubicBezTo>
                    <a:pt x="28" y="0"/>
                    <a:pt x="32" y="0"/>
                    <a:pt x="35" y="0"/>
                  </a:cubicBezTo>
                  <a:cubicBezTo>
                    <a:pt x="39" y="0"/>
                    <a:pt x="42" y="1"/>
                    <a:pt x="45" y="1"/>
                  </a:cubicBezTo>
                  <a:cubicBezTo>
                    <a:pt x="47" y="2"/>
                    <a:pt x="48" y="2"/>
                    <a:pt x="48" y="4"/>
                  </a:cubicBezTo>
                  <a:cubicBezTo>
                    <a:pt x="48" y="8"/>
                    <a:pt x="48" y="8"/>
                    <a:pt x="48" y="8"/>
                  </a:cubicBezTo>
                  <a:cubicBezTo>
                    <a:pt x="48" y="10"/>
                    <a:pt x="47" y="10"/>
                    <a:pt x="45" y="10"/>
                  </a:cubicBezTo>
                  <a:cubicBezTo>
                    <a:pt x="45" y="10"/>
                    <a:pt x="45" y="10"/>
                    <a:pt x="45" y="10"/>
                  </a:cubicBezTo>
                  <a:cubicBezTo>
                    <a:pt x="43" y="10"/>
                    <a:pt x="40" y="10"/>
                    <a:pt x="36" y="10"/>
                  </a:cubicBezTo>
                  <a:cubicBezTo>
                    <a:pt x="32" y="9"/>
                    <a:pt x="28" y="9"/>
                    <a:pt x="24" y="9"/>
                  </a:cubicBezTo>
                  <a:cubicBezTo>
                    <a:pt x="21" y="9"/>
                    <a:pt x="18" y="10"/>
                    <a:pt x="15" y="11"/>
                  </a:cubicBezTo>
                  <a:cubicBezTo>
                    <a:pt x="13" y="11"/>
                    <a:pt x="12" y="13"/>
                    <a:pt x="12" y="17"/>
                  </a:cubicBezTo>
                  <a:cubicBezTo>
                    <a:pt x="12" y="19"/>
                    <a:pt x="13" y="20"/>
                    <a:pt x="14" y="22"/>
                  </a:cubicBezTo>
                  <a:cubicBezTo>
                    <a:pt x="16" y="23"/>
                    <a:pt x="18" y="25"/>
                    <a:pt x="21" y="26"/>
                  </a:cubicBezTo>
                  <a:cubicBezTo>
                    <a:pt x="34" y="34"/>
                    <a:pt x="34" y="34"/>
                    <a:pt x="34" y="34"/>
                  </a:cubicBezTo>
                  <a:cubicBezTo>
                    <a:pt x="40" y="37"/>
                    <a:pt x="44" y="40"/>
                    <a:pt x="46" y="43"/>
                  </a:cubicBezTo>
                  <a:cubicBezTo>
                    <a:pt x="48" y="46"/>
                    <a:pt x="49" y="49"/>
                    <a:pt x="49"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13" name="Rectangle 261">
              <a:extLst>
                <a:ext uri="{FF2B5EF4-FFF2-40B4-BE49-F238E27FC236}">
                  <a16:creationId xmlns="" xmlns:a16="http://schemas.microsoft.com/office/drawing/2014/main" id="{B623DD36-AC63-4D53-8A58-E6E639DB642E}"/>
                </a:ext>
              </a:extLst>
            </p:cNvPr>
            <p:cNvSpPr>
              <a:spLocks noChangeArrowheads="1"/>
            </p:cNvSpPr>
            <p:nvPr/>
          </p:nvSpPr>
          <p:spPr bwMode="auto">
            <a:xfrm>
              <a:off x="4410075" y="-2116138"/>
              <a:ext cx="165100" cy="33338"/>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14" name="Freeform 262">
              <a:extLst>
                <a:ext uri="{FF2B5EF4-FFF2-40B4-BE49-F238E27FC236}">
                  <a16:creationId xmlns="" xmlns:a16="http://schemas.microsoft.com/office/drawing/2014/main" id="{1E7220A6-C924-4A86-BF8D-BF168F69A72A}"/>
                </a:ext>
              </a:extLst>
            </p:cNvPr>
            <p:cNvSpPr>
              <a:spLocks/>
            </p:cNvSpPr>
            <p:nvPr/>
          </p:nvSpPr>
          <p:spPr bwMode="auto">
            <a:xfrm>
              <a:off x="4419600" y="-2374900"/>
              <a:ext cx="168275" cy="292100"/>
            </a:xfrm>
            <a:custGeom>
              <a:avLst/>
              <a:gdLst>
                <a:gd name="T0" fmla="*/ 7 w 56"/>
                <a:gd name="T1" fmla="*/ 5 h 96"/>
                <a:gd name="T2" fmla="*/ 30 w 56"/>
                <a:gd name="T3" fmla="*/ 0 h 96"/>
                <a:gd name="T4" fmla="*/ 41 w 56"/>
                <a:gd name="T5" fmla="*/ 0 h 96"/>
                <a:gd name="T6" fmla="*/ 52 w 56"/>
                <a:gd name="T7" fmla="*/ 2 h 96"/>
                <a:gd name="T8" fmla="*/ 54 w 56"/>
                <a:gd name="T9" fmla="*/ 3 h 96"/>
                <a:gd name="T10" fmla="*/ 54 w 56"/>
                <a:gd name="T11" fmla="*/ 5 h 96"/>
                <a:gd name="T12" fmla="*/ 54 w 56"/>
                <a:gd name="T13" fmla="*/ 9 h 96"/>
                <a:gd name="T14" fmla="*/ 52 w 56"/>
                <a:gd name="T15" fmla="*/ 12 h 96"/>
                <a:gd name="T16" fmla="*/ 52 w 56"/>
                <a:gd name="T17" fmla="*/ 12 h 96"/>
                <a:gd name="T18" fmla="*/ 41 w 56"/>
                <a:gd name="T19" fmla="*/ 10 h 96"/>
                <a:gd name="T20" fmla="*/ 30 w 56"/>
                <a:gd name="T21" fmla="*/ 10 h 96"/>
                <a:gd name="T22" fmla="*/ 15 w 56"/>
                <a:gd name="T23" fmla="*/ 13 h 96"/>
                <a:gd name="T24" fmla="*/ 11 w 56"/>
                <a:gd name="T25" fmla="*/ 23 h 96"/>
                <a:gd name="T26" fmla="*/ 11 w 56"/>
                <a:gd name="T27" fmla="*/ 28 h 96"/>
                <a:gd name="T28" fmla="*/ 13 w 56"/>
                <a:gd name="T29" fmla="*/ 32 h 96"/>
                <a:gd name="T30" fmla="*/ 17 w 56"/>
                <a:gd name="T31" fmla="*/ 36 h 96"/>
                <a:gd name="T32" fmla="*/ 24 w 56"/>
                <a:gd name="T33" fmla="*/ 41 h 96"/>
                <a:gd name="T34" fmla="*/ 36 w 56"/>
                <a:gd name="T35" fmla="*/ 49 h 96"/>
                <a:gd name="T36" fmla="*/ 51 w 56"/>
                <a:gd name="T37" fmla="*/ 65 h 96"/>
                <a:gd name="T38" fmla="*/ 56 w 56"/>
                <a:gd name="T39" fmla="*/ 83 h 96"/>
                <a:gd name="T40" fmla="*/ 56 w 56"/>
                <a:gd name="T41" fmla="*/ 93 h 96"/>
                <a:gd name="T42" fmla="*/ 55 w 56"/>
                <a:gd name="T43" fmla="*/ 95 h 96"/>
                <a:gd name="T44" fmla="*/ 53 w 56"/>
                <a:gd name="T45" fmla="*/ 96 h 96"/>
                <a:gd name="T46" fmla="*/ 3 w 56"/>
                <a:gd name="T47" fmla="*/ 96 h 96"/>
                <a:gd name="T48" fmla="*/ 2 w 56"/>
                <a:gd name="T49" fmla="*/ 95 h 96"/>
                <a:gd name="T50" fmla="*/ 1 w 56"/>
                <a:gd name="T51" fmla="*/ 93 h 96"/>
                <a:gd name="T52" fmla="*/ 1 w 56"/>
                <a:gd name="T53" fmla="*/ 88 h 96"/>
                <a:gd name="T54" fmla="*/ 2 w 56"/>
                <a:gd name="T55" fmla="*/ 86 h 96"/>
                <a:gd name="T56" fmla="*/ 3 w 56"/>
                <a:gd name="T57" fmla="*/ 85 h 96"/>
                <a:gd name="T58" fmla="*/ 46 w 56"/>
                <a:gd name="T59" fmla="*/ 85 h 96"/>
                <a:gd name="T60" fmla="*/ 46 w 56"/>
                <a:gd name="T61" fmla="*/ 83 h 96"/>
                <a:gd name="T62" fmla="*/ 45 w 56"/>
                <a:gd name="T63" fmla="*/ 75 h 96"/>
                <a:gd name="T64" fmla="*/ 42 w 56"/>
                <a:gd name="T65" fmla="*/ 69 h 96"/>
                <a:gd name="T66" fmla="*/ 37 w 56"/>
                <a:gd name="T67" fmla="*/ 62 h 96"/>
                <a:gd name="T68" fmla="*/ 28 w 56"/>
                <a:gd name="T69" fmla="*/ 56 h 96"/>
                <a:gd name="T70" fmla="*/ 16 w 56"/>
                <a:gd name="T71" fmla="*/ 47 h 96"/>
                <a:gd name="T72" fmla="*/ 3 w 56"/>
                <a:gd name="T73" fmla="*/ 36 h 96"/>
                <a:gd name="T74" fmla="*/ 0 w 56"/>
                <a:gd name="T75" fmla="*/ 23 h 96"/>
                <a:gd name="T76" fmla="*/ 7 w 56"/>
                <a:gd name="T77"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96">
                  <a:moveTo>
                    <a:pt x="7" y="5"/>
                  </a:moveTo>
                  <a:cubicBezTo>
                    <a:pt x="12" y="2"/>
                    <a:pt x="19" y="0"/>
                    <a:pt x="30" y="0"/>
                  </a:cubicBezTo>
                  <a:cubicBezTo>
                    <a:pt x="33" y="0"/>
                    <a:pt x="37" y="0"/>
                    <a:pt x="41" y="0"/>
                  </a:cubicBezTo>
                  <a:cubicBezTo>
                    <a:pt x="45" y="1"/>
                    <a:pt x="49" y="1"/>
                    <a:pt x="52" y="2"/>
                  </a:cubicBezTo>
                  <a:cubicBezTo>
                    <a:pt x="53" y="3"/>
                    <a:pt x="53" y="3"/>
                    <a:pt x="54" y="3"/>
                  </a:cubicBezTo>
                  <a:cubicBezTo>
                    <a:pt x="54" y="3"/>
                    <a:pt x="54" y="4"/>
                    <a:pt x="54" y="5"/>
                  </a:cubicBezTo>
                  <a:cubicBezTo>
                    <a:pt x="54" y="9"/>
                    <a:pt x="54" y="9"/>
                    <a:pt x="54" y="9"/>
                  </a:cubicBezTo>
                  <a:cubicBezTo>
                    <a:pt x="54" y="11"/>
                    <a:pt x="54" y="12"/>
                    <a:pt x="52" y="12"/>
                  </a:cubicBezTo>
                  <a:cubicBezTo>
                    <a:pt x="52" y="12"/>
                    <a:pt x="52" y="12"/>
                    <a:pt x="52" y="12"/>
                  </a:cubicBezTo>
                  <a:cubicBezTo>
                    <a:pt x="48" y="11"/>
                    <a:pt x="45" y="11"/>
                    <a:pt x="41" y="10"/>
                  </a:cubicBezTo>
                  <a:cubicBezTo>
                    <a:pt x="37" y="10"/>
                    <a:pt x="33" y="10"/>
                    <a:pt x="30" y="10"/>
                  </a:cubicBezTo>
                  <a:cubicBezTo>
                    <a:pt x="23" y="10"/>
                    <a:pt x="18" y="11"/>
                    <a:pt x="15" y="13"/>
                  </a:cubicBezTo>
                  <a:cubicBezTo>
                    <a:pt x="12" y="15"/>
                    <a:pt x="11" y="18"/>
                    <a:pt x="11" y="23"/>
                  </a:cubicBezTo>
                  <a:cubicBezTo>
                    <a:pt x="11" y="25"/>
                    <a:pt x="11" y="26"/>
                    <a:pt x="11" y="28"/>
                  </a:cubicBezTo>
                  <a:cubicBezTo>
                    <a:pt x="12" y="29"/>
                    <a:pt x="12" y="31"/>
                    <a:pt x="13" y="32"/>
                  </a:cubicBezTo>
                  <a:cubicBezTo>
                    <a:pt x="14" y="33"/>
                    <a:pt x="16" y="35"/>
                    <a:pt x="17" y="36"/>
                  </a:cubicBezTo>
                  <a:cubicBezTo>
                    <a:pt x="19" y="37"/>
                    <a:pt x="21" y="39"/>
                    <a:pt x="24" y="41"/>
                  </a:cubicBezTo>
                  <a:cubicBezTo>
                    <a:pt x="36" y="49"/>
                    <a:pt x="36" y="49"/>
                    <a:pt x="36" y="49"/>
                  </a:cubicBezTo>
                  <a:cubicBezTo>
                    <a:pt x="43" y="54"/>
                    <a:pt x="48" y="59"/>
                    <a:pt x="51" y="65"/>
                  </a:cubicBezTo>
                  <a:cubicBezTo>
                    <a:pt x="54" y="70"/>
                    <a:pt x="56" y="76"/>
                    <a:pt x="56" y="83"/>
                  </a:cubicBezTo>
                  <a:cubicBezTo>
                    <a:pt x="56" y="93"/>
                    <a:pt x="56" y="93"/>
                    <a:pt x="56" y="93"/>
                  </a:cubicBezTo>
                  <a:cubicBezTo>
                    <a:pt x="56" y="94"/>
                    <a:pt x="56" y="94"/>
                    <a:pt x="55" y="95"/>
                  </a:cubicBezTo>
                  <a:cubicBezTo>
                    <a:pt x="55" y="95"/>
                    <a:pt x="54" y="96"/>
                    <a:pt x="53" y="96"/>
                  </a:cubicBezTo>
                  <a:cubicBezTo>
                    <a:pt x="3" y="96"/>
                    <a:pt x="3" y="96"/>
                    <a:pt x="3" y="96"/>
                  </a:cubicBezTo>
                  <a:cubicBezTo>
                    <a:pt x="3" y="96"/>
                    <a:pt x="2" y="95"/>
                    <a:pt x="2" y="95"/>
                  </a:cubicBezTo>
                  <a:cubicBezTo>
                    <a:pt x="1" y="94"/>
                    <a:pt x="1" y="94"/>
                    <a:pt x="1" y="93"/>
                  </a:cubicBezTo>
                  <a:cubicBezTo>
                    <a:pt x="1" y="88"/>
                    <a:pt x="1" y="88"/>
                    <a:pt x="1" y="88"/>
                  </a:cubicBezTo>
                  <a:cubicBezTo>
                    <a:pt x="1" y="87"/>
                    <a:pt x="1" y="86"/>
                    <a:pt x="2" y="86"/>
                  </a:cubicBezTo>
                  <a:cubicBezTo>
                    <a:pt x="2" y="86"/>
                    <a:pt x="3" y="85"/>
                    <a:pt x="3" y="85"/>
                  </a:cubicBezTo>
                  <a:cubicBezTo>
                    <a:pt x="46" y="85"/>
                    <a:pt x="46" y="85"/>
                    <a:pt x="46" y="85"/>
                  </a:cubicBezTo>
                  <a:cubicBezTo>
                    <a:pt x="46" y="83"/>
                    <a:pt x="46" y="83"/>
                    <a:pt x="46" y="83"/>
                  </a:cubicBezTo>
                  <a:cubicBezTo>
                    <a:pt x="46" y="80"/>
                    <a:pt x="46" y="77"/>
                    <a:pt x="45" y="75"/>
                  </a:cubicBezTo>
                  <a:cubicBezTo>
                    <a:pt x="44" y="73"/>
                    <a:pt x="44" y="71"/>
                    <a:pt x="42" y="69"/>
                  </a:cubicBezTo>
                  <a:cubicBezTo>
                    <a:pt x="41" y="66"/>
                    <a:pt x="39" y="64"/>
                    <a:pt x="37" y="62"/>
                  </a:cubicBezTo>
                  <a:cubicBezTo>
                    <a:pt x="35" y="60"/>
                    <a:pt x="32" y="58"/>
                    <a:pt x="28" y="56"/>
                  </a:cubicBezTo>
                  <a:cubicBezTo>
                    <a:pt x="16" y="47"/>
                    <a:pt x="16" y="47"/>
                    <a:pt x="16" y="47"/>
                  </a:cubicBezTo>
                  <a:cubicBezTo>
                    <a:pt x="10" y="43"/>
                    <a:pt x="6" y="39"/>
                    <a:pt x="3" y="36"/>
                  </a:cubicBezTo>
                  <a:cubicBezTo>
                    <a:pt x="1" y="32"/>
                    <a:pt x="0" y="28"/>
                    <a:pt x="0" y="23"/>
                  </a:cubicBezTo>
                  <a:cubicBezTo>
                    <a:pt x="0" y="15"/>
                    <a:pt x="2" y="9"/>
                    <a:pt x="7"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Calibri" panose="020F0502020204030204"/>
                <a:ea typeface="+mn-ea"/>
                <a:cs typeface="+mn-cs"/>
              </a:endParaRPr>
            </a:p>
          </p:txBody>
        </p:sp>
      </p:grpSp>
      <p:sp>
        <p:nvSpPr>
          <p:cNvPr id="113" name="Title 1"/>
          <p:cNvSpPr txBox="1">
            <a:spLocks/>
          </p:cNvSpPr>
          <p:nvPr/>
        </p:nvSpPr>
        <p:spPr>
          <a:xfrm>
            <a:off x="36997" y="2538035"/>
            <a:ext cx="4785615" cy="248597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r>
              <a:rPr lang="en-US" sz="4000" i="1" dirty="0" err="1" smtClean="0"/>
              <a:t>Pembuatan</a:t>
            </a:r>
            <a:r>
              <a:rPr lang="en-US" sz="4000" i="1" dirty="0" smtClean="0"/>
              <a:t> </a:t>
            </a:r>
            <a:r>
              <a:rPr lang="en-US" sz="4000" i="1" dirty="0" err="1" smtClean="0"/>
              <a:t>Aplikasi</a:t>
            </a:r>
            <a:r>
              <a:rPr lang="en-US" sz="4000" i="1" dirty="0" smtClean="0"/>
              <a:t> </a:t>
            </a:r>
            <a:r>
              <a:rPr lang="en-US" sz="4000" i="1" dirty="0" err="1" smtClean="0"/>
              <a:t>Pemesanan</a:t>
            </a:r>
            <a:r>
              <a:rPr lang="en-US" sz="4000" i="1" dirty="0" smtClean="0"/>
              <a:t> Café </a:t>
            </a:r>
            <a:r>
              <a:rPr lang="en-US" sz="4000" i="1" dirty="0" err="1" smtClean="0"/>
              <a:t>Berbasis</a:t>
            </a:r>
            <a:r>
              <a:rPr lang="en-US" sz="4000" i="1" dirty="0" smtClean="0"/>
              <a:t> </a:t>
            </a:r>
            <a:r>
              <a:rPr lang="en-US" sz="4000" i="1" dirty="0" err="1" smtClean="0"/>
              <a:t>Flatform</a:t>
            </a:r>
            <a:r>
              <a:rPr lang="en-US" sz="4000" i="1" dirty="0" smtClean="0"/>
              <a:t> WEB</a:t>
            </a:r>
            <a:endParaRPr lang="en-US" sz="4000" i="1" dirty="0"/>
          </a:p>
        </p:txBody>
      </p:sp>
    </p:spTree>
    <p:extLst>
      <p:ext uri="{BB962C8B-B14F-4D97-AF65-F5344CB8AC3E}">
        <p14:creationId xmlns="" xmlns:p14="http://schemas.microsoft.com/office/powerpoint/2010/main" val="1017828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 xmlns:a16="http://schemas.microsoft.com/office/drawing/2014/main" id="{DEF434A6-E670-D54E-B330-0A9E550FC957}"/>
              </a:ext>
            </a:extLst>
          </p:cNvPr>
          <p:cNvGraphicFramePr>
            <a:graphicFrameLocks noChangeAspect="1"/>
          </p:cNvGraphicFramePr>
          <p:nvPr>
            <p:custDataLst>
              <p:tags r:id="rId2"/>
            </p:custDataLst>
            <p:extLst>
              <p:ext uri="{D42A27DB-BD31-4B8C-83A1-F6EECF244321}">
                <p14:modId xmlns="" xmlns:p14="http://schemas.microsoft.com/office/powerpoint/2010/main" val="4069307496"/>
              </p:ext>
            </p:extLst>
          </p:nvPr>
        </p:nvGraphicFramePr>
        <p:xfrm>
          <a:off x="1588" y="1588"/>
          <a:ext cx="1227" cy="1588"/>
        </p:xfrm>
        <a:graphic>
          <a:graphicData uri="http://schemas.openxmlformats.org/presentationml/2006/ole">
            <p:oleObj spid="_x0000_s16390" name="think-cell Slide" r:id="rId4" imgW="7761960" imgH="10047960" progId="">
              <p:embed/>
            </p:oleObj>
          </a:graphicData>
        </a:graphic>
      </p:graphicFrame>
      <p:sp>
        <p:nvSpPr>
          <p:cNvPr id="7" name="Rectangle 6">
            <a:extLst>
              <a:ext uri="{FF2B5EF4-FFF2-40B4-BE49-F238E27FC236}">
                <a16:creationId xmlns="" xmlns:a16="http://schemas.microsoft.com/office/drawing/2014/main" id="{42A4FC2C-047E-45A5-965D-8E1E3BF09BC6}"/>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3">
            <a:extLst>
              <a:ext uri="{FF2B5EF4-FFF2-40B4-BE49-F238E27FC236}">
                <a16:creationId xmlns="" xmlns:a16="http://schemas.microsoft.com/office/drawing/2014/main" id="{0FED0173-8C03-4A41-A9B6-BF71ED26D51D}"/>
              </a:ext>
            </a:extLst>
          </p:cNvPr>
          <p:cNvPicPr>
            <a:picLocks noChangeAspect="1"/>
          </p:cNvPicPr>
          <p:nvPr/>
        </p:nvPicPr>
        <p:blipFill rotWithShape="1">
          <a:blip r:embed="rId5">
            <a:extLst>
              <a:ext uri="{BEBA8EAE-BF5A-486C-A8C5-ECC9F3942E4B}">
                <a14:imgProps xmlns="" xmlns:a14="http://schemas.microsoft.com/office/drawing/2010/main">
                  <a14:imgLayer r:embed="rId7">
                    <a14:imgEffect>
                      <a14:saturation sat="0"/>
                    </a14:imgEffect>
                    <a14:imgEffect>
                      <a14:brightnessContrast bright="-16000"/>
                    </a14:imgEffect>
                  </a14:imgLayer>
                </a14:imgProps>
              </a:ext>
              <a:ext uri="{28A0092B-C50C-407E-A947-70E740481C1C}">
                <a14:useLocalDpi xmlns="" xmlns:a14="http://schemas.microsoft.com/office/drawing/2010/main" val="0"/>
              </a:ext>
            </a:extLst>
          </a:blip>
          <a:srcRect l="18297" t="16878" b="14183"/>
          <a:stretch/>
        </p:blipFill>
        <p:spPr>
          <a:xfrm>
            <a:off x="0" y="0"/>
            <a:ext cx="12192000" cy="6858000"/>
          </a:xfrm>
          <a:prstGeom prst="rect">
            <a:avLst/>
          </a:prstGeom>
        </p:spPr>
      </p:pic>
      <p:sp>
        <p:nvSpPr>
          <p:cNvPr id="3" name="Rectangle 2">
            <a:extLst>
              <a:ext uri="{FF2B5EF4-FFF2-40B4-BE49-F238E27FC236}">
                <a16:creationId xmlns="" xmlns:a16="http://schemas.microsoft.com/office/drawing/2014/main" id="{A6FCFB19-CD9D-5143-95A1-8EF2AC59AE57}"/>
              </a:ext>
            </a:extLst>
          </p:cNvPr>
          <p:cNvSpPr/>
          <p:nvPr/>
        </p:nvSpPr>
        <p:spPr>
          <a:xfrm>
            <a:off x="0" y="0"/>
            <a:ext cx="12192000" cy="6858000"/>
          </a:xfrm>
          <a:prstGeom prst="rect">
            <a:avLst/>
          </a:prstGeom>
          <a:gradFill flip="none" rotWithShape="1">
            <a:gsLst>
              <a:gs pos="0">
                <a:schemeClr val="tx1">
                  <a:alpha val="90000"/>
                </a:schemeClr>
              </a:gs>
              <a:gs pos="100000">
                <a:schemeClr val="tx1">
                  <a:alpha val="95000"/>
                </a:schemeClr>
              </a:gs>
              <a:gs pos="48000">
                <a:schemeClr val="tx1">
                  <a:alpha val="7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3" name="Freeform 72">
            <a:extLst>
              <a:ext uri="{FF2B5EF4-FFF2-40B4-BE49-F238E27FC236}">
                <a16:creationId xmlns="" xmlns:a16="http://schemas.microsoft.com/office/drawing/2014/main" id="{66DF05F3-F9A8-1D42-BE75-A986943D68F5}"/>
              </a:ext>
            </a:extLst>
          </p:cNvPr>
          <p:cNvSpPr/>
          <p:nvPr/>
        </p:nvSpPr>
        <p:spPr>
          <a:xfrm>
            <a:off x="6747100" y="0"/>
            <a:ext cx="4911500" cy="6248400"/>
          </a:xfrm>
          <a:custGeom>
            <a:avLst/>
            <a:gdLst>
              <a:gd name="connsiteX0" fmla="*/ 0 w 4911500"/>
              <a:gd name="connsiteY0" fmla="*/ 0 h 6248400"/>
              <a:gd name="connsiteX1" fmla="*/ 4911500 w 4911500"/>
              <a:gd name="connsiteY1" fmla="*/ 0 h 6248400"/>
              <a:gd name="connsiteX2" fmla="*/ 4911500 w 4911500"/>
              <a:gd name="connsiteY2" fmla="*/ 4913859 h 6248400"/>
              <a:gd name="connsiteX3" fmla="*/ 4831038 w 4911500"/>
              <a:gd name="connsiteY3" fmla="*/ 4917922 h 6248400"/>
              <a:gd name="connsiteX4" fmla="*/ 3576727 w 4911500"/>
              <a:gd name="connsiteY4" fmla="*/ 6172233 h 6248400"/>
              <a:gd name="connsiteX5" fmla="*/ 3572881 w 4911500"/>
              <a:gd name="connsiteY5" fmla="*/ 6248400 h 6248400"/>
              <a:gd name="connsiteX6" fmla="*/ 0 w 4911500"/>
              <a:gd name="connsiteY6" fmla="*/ 6248400 h 624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11500" h="6248400">
                <a:moveTo>
                  <a:pt x="0" y="0"/>
                </a:moveTo>
                <a:lnTo>
                  <a:pt x="4911500" y="0"/>
                </a:lnTo>
                <a:lnTo>
                  <a:pt x="4911500" y="4913859"/>
                </a:lnTo>
                <a:lnTo>
                  <a:pt x="4831038" y="4917922"/>
                </a:lnTo>
                <a:cubicBezTo>
                  <a:pt x="4169675" y="4985087"/>
                  <a:pt x="3643892" y="5510870"/>
                  <a:pt x="3576727" y="6172233"/>
                </a:cubicBezTo>
                <a:lnTo>
                  <a:pt x="3572881" y="6248400"/>
                </a:lnTo>
                <a:lnTo>
                  <a:pt x="0" y="6248400"/>
                </a:lnTo>
                <a:close/>
              </a:path>
            </a:pathLst>
          </a:custGeom>
          <a:pattFill prst="ltUpDiag">
            <a:fgClr>
              <a:schemeClr val="accent6"/>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itle 1">
            <a:extLst>
              <a:ext uri="{FF2B5EF4-FFF2-40B4-BE49-F238E27FC236}">
                <a16:creationId xmlns="" xmlns:a16="http://schemas.microsoft.com/office/drawing/2014/main" id="{E4AEEA9F-B57B-4749-8859-8B05CFC6B696}"/>
              </a:ext>
            </a:extLst>
          </p:cNvPr>
          <p:cNvSpPr txBox="1">
            <a:spLocks/>
          </p:cNvSpPr>
          <p:nvPr/>
        </p:nvSpPr>
        <p:spPr>
          <a:xfrm>
            <a:off x="8308566" y="2598004"/>
            <a:ext cx="2233864" cy="1661993"/>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nSpc>
                <a:spcPct val="100000"/>
              </a:lnSpc>
            </a:pPr>
            <a:r>
              <a:rPr lang="en-US" sz="5400" i="1" dirty="0">
                <a:solidFill>
                  <a:schemeClr val="bg1"/>
                </a:solidFill>
                <a:latin typeface="Segoe UI" panose="020B0502040204020203" pitchFamily="34" charset="0"/>
                <a:cs typeface="Segoe UI" panose="020B0502040204020203" pitchFamily="34" charset="0"/>
              </a:rPr>
              <a:t>Thank You</a:t>
            </a:r>
          </a:p>
        </p:txBody>
      </p:sp>
      <p:sp>
        <p:nvSpPr>
          <p:cNvPr id="71" name="Freeform 70">
            <a:extLst>
              <a:ext uri="{FF2B5EF4-FFF2-40B4-BE49-F238E27FC236}">
                <a16:creationId xmlns="" xmlns:a16="http://schemas.microsoft.com/office/drawing/2014/main" id="{8C974EDF-9D72-FC42-A9C9-9D2011C8EF65}"/>
              </a:ext>
            </a:extLst>
          </p:cNvPr>
          <p:cNvSpPr/>
          <p:nvPr/>
        </p:nvSpPr>
        <p:spPr>
          <a:xfrm flipH="1">
            <a:off x="10429136" y="5027546"/>
            <a:ext cx="1762864" cy="1830455"/>
          </a:xfrm>
          <a:custGeom>
            <a:avLst/>
            <a:gdLst>
              <a:gd name="connsiteX0" fmla="*/ 516755 w 1762864"/>
              <a:gd name="connsiteY0" fmla="*/ 0 h 1830455"/>
              <a:gd name="connsiteX1" fmla="*/ 88301 w 1762864"/>
              <a:gd name="connsiteY1" fmla="*/ 75614 h 1830455"/>
              <a:gd name="connsiteX2" fmla="*/ 0 w 1762864"/>
              <a:gd name="connsiteY2" fmla="*/ 116808 h 1830455"/>
              <a:gd name="connsiteX3" fmla="*/ 0 w 1762864"/>
              <a:gd name="connsiteY3" fmla="*/ 1830455 h 1830455"/>
              <a:gd name="connsiteX4" fmla="*/ 1616437 w 1762864"/>
              <a:gd name="connsiteY4" fmla="*/ 1830455 h 1830455"/>
              <a:gd name="connsiteX5" fmla="*/ 1646466 w 1762864"/>
              <a:gd name="connsiteY5" fmla="*/ 1772684 h 1830455"/>
              <a:gd name="connsiteX6" fmla="*/ 1762864 w 1762864"/>
              <a:gd name="connsiteY6" fmla="*/ 1246109 h 1830455"/>
              <a:gd name="connsiteX7" fmla="*/ 516755 w 1762864"/>
              <a:gd name="connsiteY7" fmla="*/ 0 h 183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2864" h="1830455">
                <a:moveTo>
                  <a:pt x="516755" y="0"/>
                </a:moveTo>
                <a:cubicBezTo>
                  <a:pt x="366210" y="0"/>
                  <a:pt x="221899" y="26697"/>
                  <a:pt x="88301" y="75614"/>
                </a:cubicBezTo>
                <a:lnTo>
                  <a:pt x="0" y="116808"/>
                </a:lnTo>
                <a:lnTo>
                  <a:pt x="0" y="1830455"/>
                </a:lnTo>
                <a:lnTo>
                  <a:pt x="1616437" y="1830455"/>
                </a:lnTo>
                <a:lnTo>
                  <a:pt x="1646466" y="1772684"/>
                </a:lnTo>
                <a:cubicBezTo>
                  <a:pt x="1721151" y="1612730"/>
                  <a:pt x="1762864" y="1434291"/>
                  <a:pt x="1762864" y="1246109"/>
                </a:cubicBezTo>
                <a:cubicBezTo>
                  <a:pt x="1762864" y="557902"/>
                  <a:pt x="1204962" y="0"/>
                  <a:pt x="516755" y="0"/>
                </a:cubicBezTo>
                <a:close/>
              </a:path>
            </a:pathLst>
          </a:cu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8" name="Oval 67">
            <a:extLst>
              <a:ext uri="{FF2B5EF4-FFF2-40B4-BE49-F238E27FC236}">
                <a16:creationId xmlns="" xmlns:a16="http://schemas.microsoft.com/office/drawing/2014/main" id="{7F64014D-429E-6845-B400-86406B99F80E}"/>
              </a:ext>
            </a:extLst>
          </p:cNvPr>
          <p:cNvSpPr/>
          <p:nvPr/>
        </p:nvSpPr>
        <p:spPr>
          <a:xfrm flipH="1">
            <a:off x="11192313" y="5790722"/>
            <a:ext cx="965864" cy="965864"/>
          </a:xfrm>
          <a:prstGeom prst="ellipse">
            <a:avLst/>
          </a:prstGeom>
          <a:pattFill prst="dkUpDiag">
            <a:fgClr>
              <a:schemeClr val="accent6"/>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76" name="Group 75">
            <a:extLst>
              <a:ext uri="{FF2B5EF4-FFF2-40B4-BE49-F238E27FC236}">
                <a16:creationId xmlns="" xmlns:a16="http://schemas.microsoft.com/office/drawing/2014/main" id="{C7A84876-1F7B-3544-993C-CD38808A5380}"/>
              </a:ext>
            </a:extLst>
          </p:cNvPr>
          <p:cNvGrpSpPr/>
          <p:nvPr/>
        </p:nvGrpSpPr>
        <p:grpSpPr>
          <a:xfrm rot="16200000">
            <a:off x="555156" y="1223055"/>
            <a:ext cx="804758" cy="144689"/>
            <a:chOff x="4455886" y="479425"/>
            <a:chExt cx="804758" cy="144689"/>
          </a:xfrm>
        </p:grpSpPr>
        <p:cxnSp>
          <p:nvCxnSpPr>
            <p:cNvPr id="77" name="Straight Connector 76">
              <a:extLst>
                <a:ext uri="{FF2B5EF4-FFF2-40B4-BE49-F238E27FC236}">
                  <a16:creationId xmlns="" xmlns:a16="http://schemas.microsoft.com/office/drawing/2014/main" id="{F5F18B08-42AA-A641-BF89-D18F4E5B46AF}"/>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 xmlns:a16="http://schemas.microsoft.com/office/drawing/2014/main" id="{7D9083AF-5E34-B140-AE54-52CA984940C2}"/>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 xmlns:a16="http://schemas.microsoft.com/office/drawing/2014/main" id="{DB428CD7-E27A-2844-B194-A865E1AF11EA}"/>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 xmlns:a16="http://schemas.microsoft.com/office/drawing/2014/main" id="{BDE4D1E7-D1B7-1247-9438-D5E06268809E}"/>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 xmlns:a16="http://schemas.microsoft.com/office/drawing/2014/main" id="{F79F0A12-4B70-BE44-9836-8631446971B0}"/>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 xmlns:a16="http://schemas.microsoft.com/office/drawing/2014/main" id="{BADED522-DFFE-7A42-9010-C733CC26CD0A}"/>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83" name="Straight Connector 82">
            <a:extLst>
              <a:ext uri="{FF2B5EF4-FFF2-40B4-BE49-F238E27FC236}">
                <a16:creationId xmlns="" xmlns:a16="http://schemas.microsoft.com/office/drawing/2014/main" id="{F3ED6BCC-93C2-3A47-8F67-6DC62290E97A}"/>
              </a:ext>
            </a:extLst>
          </p:cNvPr>
          <p:cNvCxnSpPr>
            <a:cxnSpLocks/>
          </p:cNvCxnSpPr>
          <p:nvPr/>
        </p:nvCxnSpPr>
        <p:spPr>
          <a:xfrm>
            <a:off x="957534" y="2598004"/>
            <a:ext cx="0" cy="4259996"/>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8666595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 name="Object 103" hidden="1">
            <a:extLst>
              <a:ext uri="{FF2B5EF4-FFF2-40B4-BE49-F238E27FC236}">
                <a16:creationId xmlns="" xmlns:a16="http://schemas.microsoft.com/office/drawing/2014/main" id="{0F5436C6-62E2-2B4A-8F8D-5BA918D97A98}"/>
              </a:ext>
            </a:extLst>
          </p:cNvPr>
          <p:cNvGraphicFramePr>
            <a:graphicFrameLocks noChangeAspect="1"/>
          </p:cNvGraphicFramePr>
          <p:nvPr>
            <p:custDataLst>
              <p:tags r:id="rId2"/>
            </p:custDataLst>
            <p:extLst>
              <p:ext uri="{D42A27DB-BD31-4B8C-83A1-F6EECF244321}">
                <p14:modId xmlns="" xmlns:p14="http://schemas.microsoft.com/office/powerpoint/2010/main" val="3689012666"/>
              </p:ext>
            </p:extLst>
          </p:nvPr>
        </p:nvGraphicFramePr>
        <p:xfrm>
          <a:off x="1588" y="1588"/>
          <a:ext cx="1227" cy="1588"/>
        </p:xfrm>
        <a:graphic>
          <a:graphicData uri="http://schemas.openxmlformats.org/presentationml/2006/ole">
            <p:oleObj spid="_x0000_s13320" name="think-cell Slide" r:id="rId5" imgW="7761960" imgH="10047960" progId="">
              <p:embed/>
            </p:oleObj>
          </a:graphicData>
        </a:graphic>
      </p:graphicFrame>
      <p:pic>
        <p:nvPicPr>
          <p:cNvPr id="2" name="Picture 1">
            <a:extLst>
              <a:ext uri="{FF2B5EF4-FFF2-40B4-BE49-F238E27FC236}">
                <a16:creationId xmlns="" xmlns:a16="http://schemas.microsoft.com/office/drawing/2014/main" id="{C248CE79-C14E-AB4A-B576-2875631AA9E8}"/>
              </a:ext>
            </a:extLst>
          </p:cNvPr>
          <p:cNvPicPr>
            <a:picLocks noChangeAspect="1"/>
          </p:cNvPicPr>
          <p:nvPr/>
        </p:nvPicPr>
        <p:blipFill rotWithShape="1">
          <a:blip r:embed="rId6">
            <a:extLst>
              <a:ext uri="{BEBA8EAE-BF5A-486C-A8C5-ECC9F3942E4B}">
                <a14:imgProps xmlns="" xmlns:a14="http://schemas.microsoft.com/office/drawing/2010/main">
                  <a14:imgLayer r:embed="rId8">
                    <a14:imgEffect>
                      <a14:saturation sat="0"/>
                    </a14:imgEffect>
                  </a14:imgLayer>
                </a14:imgProps>
              </a:ext>
              <a:ext uri="{28A0092B-C50C-407E-A947-70E740481C1C}">
                <a14:useLocalDpi xmlns="" xmlns:a14="http://schemas.microsoft.com/office/drawing/2010/main" val="0"/>
              </a:ext>
            </a:extLst>
          </a:blip>
          <a:srcRect t="7813" b="7813"/>
          <a:stretch/>
        </p:blipFill>
        <p:spPr>
          <a:xfrm>
            <a:off x="0" y="0"/>
            <a:ext cx="12192000" cy="6858000"/>
          </a:xfrm>
          <a:prstGeom prst="rect">
            <a:avLst/>
          </a:prstGeom>
        </p:spPr>
      </p:pic>
      <p:sp>
        <p:nvSpPr>
          <p:cNvPr id="117" name="Freeform 116">
            <a:extLst>
              <a:ext uri="{FF2B5EF4-FFF2-40B4-BE49-F238E27FC236}">
                <a16:creationId xmlns="" xmlns:a16="http://schemas.microsoft.com/office/drawing/2014/main" id="{2925369B-0BBF-914B-836F-62B20A99D67E}"/>
              </a:ext>
            </a:extLst>
          </p:cNvPr>
          <p:cNvSpPr/>
          <p:nvPr/>
        </p:nvSpPr>
        <p:spPr>
          <a:xfrm>
            <a:off x="0" y="-13252"/>
            <a:ext cx="12192000" cy="6858000"/>
          </a:xfrm>
          <a:custGeom>
            <a:avLst/>
            <a:gdLst>
              <a:gd name="connsiteX0" fmla="*/ 0 w 12192000"/>
              <a:gd name="connsiteY0" fmla="*/ 0 h 6858000"/>
              <a:gd name="connsiteX1" fmla="*/ 12192000 w 12192000"/>
              <a:gd name="connsiteY1" fmla="*/ 0 h 6858000"/>
              <a:gd name="connsiteX2" fmla="*/ 12192000 w 12192000"/>
              <a:gd name="connsiteY2" fmla="*/ 5116025 h 6858000"/>
              <a:gd name="connsiteX3" fmla="*/ 12155345 w 12192000"/>
              <a:gd name="connsiteY3" fmla="*/ 5082711 h 6858000"/>
              <a:gd name="connsiteX4" fmla="*/ 11362704 w 12192000"/>
              <a:gd name="connsiteY4" fmla="*/ 4798160 h 6858000"/>
              <a:gd name="connsiteX5" fmla="*/ 10116595 w 12192000"/>
              <a:gd name="connsiteY5" fmla="*/ 6044269 h 6858000"/>
              <a:gd name="connsiteX6" fmla="*/ 10401146 w 12192000"/>
              <a:gd name="connsiteY6" fmla="*/ 6836910 h 6858000"/>
              <a:gd name="connsiteX7" fmla="*/ 10420314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5116025"/>
                </a:lnTo>
                <a:lnTo>
                  <a:pt x="12155345" y="5082711"/>
                </a:lnTo>
                <a:cubicBezTo>
                  <a:pt x="11939944" y="4904946"/>
                  <a:pt x="11663795" y="4798160"/>
                  <a:pt x="11362704" y="4798160"/>
                </a:cubicBezTo>
                <a:cubicBezTo>
                  <a:pt x="10674497" y="4798160"/>
                  <a:pt x="10116595" y="5356062"/>
                  <a:pt x="10116595" y="6044269"/>
                </a:cubicBezTo>
                <a:cubicBezTo>
                  <a:pt x="10116595" y="6345360"/>
                  <a:pt x="10223381" y="6621509"/>
                  <a:pt x="10401146" y="6836910"/>
                </a:cubicBezTo>
                <a:lnTo>
                  <a:pt x="10420314" y="6858000"/>
                </a:lnTo>
                <a:lnTo>
                  <a:pt x="0" y="6858000"/>
                </a:lnTo>
                <a:close/>
              </a:path>
            </a:pathLst>
          </a:custGeom>
          <a:gradFill flip="none" rotWithShape="1">
            <a:gsLst>
              <a:gs pos="0">
                <a:schemeClr val="tx1">
                  <a:alpha val="90000"/>
                </a:schemeClr>
              </a:gs>
              <a:gs pos="100000">
                <a:schemeClr val="tx1">
                  <a:alpha val="95000"/>
                </a:schemeClr>
              </a:gs>
              <a:gs pos="48000">
                <a:schemeClr val="tx1">
                  <a:alpha val="7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13" name="Oval 112">
            <a:extLst>
              <a:ext uri="{FF2B5EF4-FFF2-40B4-BE49-F238E27FC236}">
                <a16:creationId xmlns="" xmlns:a16="http://schemas.microsoft.com/office/drawing/2014/main" id="{67D2D5C0-68B6-6040-9B8A-FB188CDBF3F1}"/>
              </a:ext>
            </a:extLst>
          </p:cNvPr>
          <p:cNvSpPr/>
          <p:nvPr/>
        </p:nvSpPr>
        <p:spPr>
          <a:xfrm flipH="1">
            <a:off x="10879772" y="5561337"/>
            <a:ext cx="965864" cy="965864"/>
          </a:xfrm>
          <a:prstGeom prst="ellipse">
            <a:avLst/>
          </a:prstGeom>
          <a:pattFill prst="dkUpDiag">
            <a:fgClr>
              <a:schemeClr val="accent6"/>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1" name="Oval 100">
            <a:extLst>
              <a:ext uri="{FF2B5EF4-FFF2-40B4-BE49-F238E27FC236}">
                <a16:creationId xmlns="" xmlns:a16="http://schemas.microsoft.com/office/drawing/2014/main" id="{D129E2FC-CA83-8B43-9AED-F29DAA0A2B26}"/>
              </a:ext>
            </a:extLst>
          </p:cNvPr>
          <p:cNvSpPr/>
          <p:nvPr/>
        </p:nvSpPr>
        <p:spPr>
          <a:xfrm flipV="1">
            <a:off x="10259352" y="4957602"/>
            <a:ext cx="422118" cy="42211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Freeform 125">
            <a:extLst>
              <a:ext uri="{FF2B5EF4-FFF2-40B4-BE49-F238E27FC236}">
                <a16:creationId xmlns="" xmlns:a16="http://schemas.microsoft.com/office/drawing/2014/main" id="{0A8D5655-D565-3D41-9023-7A49179ECD58}"/>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127" name="Group 126">
            <a:extLst>
              <a:ext uri="{FF2B5EF4-FFF2-40B4-BE49-F238E27FC236}">
                <a16:creationId xmlns="" xmlns:a16="http://schemas.microsoft.com/office/drawing/2014/main" id="{371AB89A-BBD2-D048-A0DC-8B24D912A264}"/>
              </a:ext>
            </a:extLst>
          </p:cNvPr>
          <p:cNvGrpSpPr/>
          <p:nvPr/>
        </p:nvGrpSpPr>
        <p:grpSpPr>
          <a:xfrm>
            <a:off x="533400" y="6176056"/>
            <a:ext cx="804758" cy="144689"/>
            <a:chOff x="4455886" y="479425"/>
            <a:chExt cx="804758" cy="144689"/>
          </a:xfrm>
        </p:grpSpPr>
        <p:cxnSp>
          <p:nvCxnSpPr>
            <p:cNvPr id="128" name="Straight Connector 127">
              <a:extLst>
                <a:ext uri="{FF2B5EF4-FFF2-40B4-BE49-F238E27FC236}">
                  <a16:creationId xmlns="" xmlns:a16="http://schemas.microsoft.com/office/drawing/2014/main" id="{36A5567F-B1F4-4E4B-A3F6-5FE14F655221}"/>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 xmlns:a16="http://schemas.microsoft.com/office/drawing/2014/main" id="{F131D155-FD30-A54C-90D8-7BD7BE3A0616}"/>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 xmlns:a16="http://schemas.microsoft.com/office/drawing/2014/main" id="{6ACE3126-1422-1745-BBB0-76209E0E4423}"/>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 xmlns:a16="http://schemas.microsoft.com/office/drawing/2014/main" id="{A6A2B208-1B76-2744-BACC-12386F966203}"/>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 xmlns:a16="http://schemas.microsoft.com/office/drawing/2014/main" id="{8E97F3C5-DF2A-4D46-B0A8-9E951D528068}"/>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 xmlns:a16="http://schemas.microsoft.com/office/drawing/2014/main" id="{42FFC46F-1930-2649-9BAB-7FD77F36A1AD}"/>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134" name="Straight Connector 133">
            <a:extLst>
              <a:ext uri="{FF2B5EF4-FFF2-40B4-BE49-F238E27FC236}">
                <a16:creationId xmlns="" xmlns:a16="http://schemas.microsoft.com/office/drawing/2014/main" id="{B1FFFDB5-BCE0-5445-804F-10C5612D20B8}"/>
              </a:ext>
            </a:extLst>
          </p:cNvPr>
          <p:cNvCxnSpPr>
            <a:cxnSpLocks/>
          </p:cNvCxnSpPr>
          <p:nvPr/>
        </p:nvCxnSpPr>
        <p:spPr>
          <a:xfrm flipH="1">
            <a:off x="1" y="6248400"/>
            <a:ext cx="308918"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 xmlns:a16="http://schemas.microsoft.com/office/drawing/2014/main" id="{9CAA3E98-8587-7046-80A2-F5F0912C02FB}"/>
              </a:ext>
            </a:extLst>
          </p:cNvPr>
          <p:cNvGrpSpPr/>
          <p:nvPr/>
        </p:nvGrpSpPr>
        <p:grpSpPr>
          <a:xfrm rot="16200000">
            <a:off x="10369639" y="978843"/>
            <a:ext cx="1729654" cy="848268"/>
            <a:chOff x="233739" y="283295"/>
            <a:chExt cx="1729654" cy="848268"/>
          </a:xfrm>
          <a:gradFill>
            <a:gsLst>
              <a:gs pos="100000">
                <a:schemeClr val="accent6"/>
              </a:gs>
              <a:gs pos="0">
                <a:schemeClr val="tx1">
                  <a:alpha val="0"/>
                </a:schemeClr>
              </a:gs>
            </a:gsLst>
            <a:lin ang="0" scaled="1"/>
          </a:gradFill>
        </p:grpSpPr>
        <p:grpSp>
          <p:nvGrpSpPr>
            <p:cNvPr id="136" name="Group 135">
              <a:extLst>
                <a:ext uri="{FF2B5EF4-FFF2-40B4-BE49-F238E27FC236}">
                  <a16:creationId xmlns="" xmlns:a16="http://schemas.microsoft.com/office/drawing/2014/main" id="{E0796E17-633B-CD40-9252-FB39556BF97B}"/>
                </a:ext>
              </a:extLst>
            </p:cNvPr>
            <p:cNvGrpSpPr/>
            <p:nvPr/>
          </p:nvGrpSpPr>
          <p:grpSpPr>
            <a:xfrm rot="5400000">
              <a:off x="1055270" y="-538236"/>
              <a:ext cx="86591" cy="1729654"/>
              <a:chOff x="85292" y="59892"/>
              <a:chExt cx="86591" cy="1729654"/>
            </a:xfrm>
            <a:grpFill/>
          </p:grpSpPr>
          <p:sp>
            <p:nvSpPr>
              <p:cNvPr id="170" name="Oval 169">
                <a:extLst>
                  <a:ext uri="{FF2B5EF4-FFF2-40B4-BE49-F238E27FC236}">
                    <a16:creationId xmlns="" xmlns:a16="http://schemas.microsoft.com/office/drawing/2014/main" id="{A6FDA1B8-0821-3949-A1BF-7133897B373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Oval 170">
                <a:extLst>
                  <a:ext uri="{FF2B5EF4-FFF2-40B4-BE49-F238E27FC236}">
                    <a16:creationId xmlns="" xmlns:a16="http://schemas.microsoft.com/office/drawing/2014/main" id="{BA013AB6-DD3D-9041-850A-6BBD732825C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Oval 171">
                <a:extLst>
                  <a:ext uri="{FF2B5EF4-FFF2-40B4-BE49-F238E27FC236}">
                    <a16:creationId xmlns="" xmlns:a16="http://schemas.microsoft.com/office/drawing/2014/main" id="{858D9F5E-D899-4B4C-94AC-EDC4EFF2C66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Oval 172">
                <a:extLst>
                  <a:ext uri="{FF2B5EF4-FFF2-40B4-BE49-F238E27FC236}">
                    <a16:creationId xmlns="" xmlns:a16="http://schemas.microsoft.com/office/drawing/2014/main" id="{453CC583-EF4D-C74F-8C99-C47941A924D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Oval 173">
                <a:extLst>
                  <a:ext uri="{FF2B5EF4-FFF2-40B4-BE49-F238E27FC236}">
                    <a16:creationId xmlns="" xmlns:a16="http://schemas.microsoft.com/office/drawing/2014/main" id="{57BCA4A3-C5CA-7A4A-811D-ACE8BE592B7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Oval 174">
                <a:extLst>
                  <a:ext uri="{FF2B5EF4-FFF2-40B4-BE49-F238E27FC236}">
                    <a16:creationId xmlns="" xmlns:a16="http://schemas.microsoft.com/office/drawing/2014/main" id="{BB689BCF-0953-254E-8546-43371557FA5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 xmlns:a16="http://schemas.microsoft.com/office/drawing/2014/main" id="{1D33948F-7847-5C41-AF47-D8A3ED6A97A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 xmlns:a16="http://schemas.microsoft.com/office/drawing/2014/main" id="{12868000-4181-3F40-AD40-8767C859C54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 xmlns:a16="http://schemas.microsoft.com/office/drawing/2014/main" id="{84AA02DD-4D3B-684B-AD8A-F4E61E9E21C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 xmlns:a16="http://schemas.microsoft.com/office/drawing/2014/main" id="{3F445F1C-51FF-704E-A634-F5C91EBEA7E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7" name="Group 136">
              <a:extLst>
                <a:ext uri="{FF2B5EF4-FFF2-40B4-BE49-F238E27FC236}">
                  <a16:creationId xmlns="" xmlns:a16="http://schemas.microsoft.com/office/drawing/2014/main" id="{BB1F0A80-CC1E-CF42-B70C-AF19597025F6}"/>
                </a:ext>
              </a:extLst>
            </p:cNvPr>
            <p:cNvGrpSpPr/>
            <p:nvPr/>
          </p:nvGrpSpPr>
          <p:grpSpPr>
            <a:xfrm rot="5400000">
              <a:off x="1055270" y="-284344"/>
              <a:ext cx="86591" cy="1729654"/>
              <a:chOff x="85292" y="59892"/>
              <a:chExt cx="86591" cy="1729654"/>
            </a:xfrm>
            <a:grpFill/>
          </p:grpSpPr>
          <p:sp>
            <p:nvSpPr>
              <p:cNvPr id="160" name="Oval 159">
                <a:extLst>
                  <a:ext uri="{FF2B5EF4-FFF2-40B4-BE49-F238E27FC236}">
                    <a16:creationId xmlns="" xmlns:a16="http://schemas.microsoft.com/office/drawing/2014/main" id="{B93514E1-CC1C-C44E-A482-C2B72159CC0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Oval 160">
                <a:extLst>
                  <a:ext uri="{FF2B5EF4-FFF2-40B4-BE49-F238E27FC236}">
                    <a16:creationId xmlns="" xmlns:a16="http://schemas.microsoft.com/office/drawing/2014/main" id="{F8D9340F-CCD8-B64A-AB4F-5B99C92118C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Oval 161">
                <a:extLst>
                  <a:ext uri="{FF2B5EF4-FFF2-40B4-BE49-F238E27FC236}">
                    <a16:creationId xmlns="" xmlns:a16="http://schemas.microsoft.com/office/drawing/2014/main" id="{5BC2A360-0F80-3F4F-BE72-4A8324B5B35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Oval 162">
                <a:extLst>
                  <a:ext uri="{FF2B5EF4-FFF2-40B4-BE49-F238E27FC236}">
                    <a16:creationId xmlns="" xmlns:a16="http://schemas.microsoft.com/office/drawing/2014/main" id="{8A6A7E71-6C47-A44B-B856-E3A529CDFD2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Oval 163">
                <a:extLst>
                  <a:ext uri="{FF2B5EF4-FFF2-40B4-BE49-F238E27FC236}">
                    <a16:creationId xmlns="" xmlns:a16="http://schemas.microsoft.com/office/drawing/2014/main" id="{27EE0B55-72C7-DE4E-A9DC-93EE752FBAB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Oval 164">
                <a:extLst>
                  <a:ext uri="{FF2B5EF4-FFF2-40B4-BE49-F238E27FC236}">
                    <a16:creationId xmlns="" xmlns:a16="http://schemas.microsoft.com/office/drawing/2014/main" id="{4F4E5095-07F5-CC4E-8FC4-72747BD2B46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Oval 165">
                <a:extLst>
                  <a:ext uri="{FF2B5EF4-FFF2-40B4-BE49-F238E27FC236}">
                    <a16:creationId xmlns="" xmlns:a16="http://schemas.microsoft.com/office/drawing/2014/main" id="{EA503072-CEB8-274B-8532-9129574AC17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Oval 166">
                <a:extLst>
                  <a:ext uri="{FF2B5EF4-FFF2-40B4-BE49-F238E27FC236}">
                    <a16:creationId xmlns="" xmlns:a16="http://schemas.microsoft.com/office/drawing/2014/main" id="{A95021C5-B28F-6245-BF39-5D14A4E9936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Oval 167">
                <a:extLst>
                  <a:ext uri="{FF2B5EF4-FFF2-40B4-BE49-F238E27FC236}">
                    <a16:creationId xmlns="" xmlns:a16="http://schemas.microsoft.com/office/drawing/2014/main" id="{AC1DD574-9A4E-4648-87A7-A3A9376F675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Oval 168">
                <a:extLst>
                  <a:ext uri="{FF2B5EF4-FFF2-40B4-BE49-F238E27FC236}">
                    <a16:creationId xmlns="" xmlns:a16="http://schemas.microsoft.com/office/drawing/2014/main" id="{F23DDC1C-ED9E-EF40-B8F0-1C14503BEEF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8" name="Group 137">
              <a:extLst>
                <a:ext uri="{FF2B5EF4-FFF2-40B4-BE49-F238E27FC236}">
                  <a16:creationId xmlns="" xmlns:a16="http://schemas.microsoft.com/office/drawing/2014/main" id="{4971295C-6026-E843-9D9D-A34F28EE344A}"/>
                </a:ext>
              </a:extLst>
            </p:cNvPr>
            <p:cNvGrpSpPr/>
            <p:nvPr/>
          </p:nvGrpSpPr>
          <p:grpSpPr>
            <a:xfrm rot="5400000">
              <a:off x="1055270" y="-30452"/>
              <a:ext cx="86591" cy="1729654"/>
              <a:chOff x="85292" y="59892"/>
              <a:chExt cx="86591" cy="1729654"/>
            </a:xfrm>
            <a:grpFill/>
          </p:grpSpPr>
          <p:sp>
            <p:nvSpPr>
              <p:cNvPr id="150" name="Oval 149">
                <a:extLst>
                  <a:ext uri="{FF2B5EF4-FFF2-40B4-BE49-F238E27FC236}">
                    <a16:creationId xmlns="" xmlns:a16="http://schemas.microsoft.com/office/drawing/2014/main" id="{1D4B35CD-303E-5F41-8107-C04E836563E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Oval 150">
                <a:extLst>
                  <a:ext uri="{FF2B5EF4-FFF2-40B4-BE49-F238E27FC236}">
                    <a16:creationId xmlns="" xmlns:a16="http://schemas.microsoft.com/office/drawing/2014/main" id="{78F6F04E-C214-3C40-8858-B5FFADA90D7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Oval 151">
                <a:extLst>
                  <a:ext uri="{FF2B5EF4-FFF2-40B4-BE49-F238E27FC236}">
                    <a16:creationId xmlns="" xmlns:a16="http://schemas.microsoft.com/office/drawing/2014/main" id="{68C9D4CB-25D6-B741-BB4D-6C8A15160E2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Oval 152">
                <a:extLst>
                  <a:ext uri="{FF2B5EF4-FFF2-40B4-BE49-F238E27FC236}">
                    <a16:creationId xmlns="" xmlns:a16="http://schemas.microsoft.com/office/drawing/2014/main" id="{2070ED02-D30B-BA45-8490-8A251370E22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Oval 153">
                <a:extLst>
                  <a:ext uri="{FF2B5EF4-FFF2-40B4-BE49-F238E27FC236}">
                    <a16:creationId xmlns="" xmlns:a16="http://schemas.microsoft.com/office/drawing/2014/main" id="{69F6B071-5D22-3C4C-8D6B-177B2682201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Oval 154">
                <a:extLst>
                  <a:ext uri="{FF2B5EF4-FFF2-40B4-BE49-F238E27FC236}">
                    <a16:creationId xmlns="" xmlns:a16="http://schemas.microsoft.com/office/drawing/2014/main" id="{61238F9B-5DC2-F54E-828D-3F1C62FC434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Oval 155">
                <a:extLst>
                  <a:ext uri="{FF2B5EF4-FFF2-40B4-BE49-F238E27FC236}">
                    <a16:creationId xmlns="" xmlns:a16="http://schemas.microsoft.com/office/drawing/2014/main" id="{13FFDD11-424E-5942-B8D0-29EAB882474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Oval 156">
                <a:extLst>
                  <a:ext uri="{FF2B5EF4-FFF2-40B4-BE49-F238E27FC236}">
                    <a16:creationId xmlns="" xmlns:a16="http://schemas.microsoft.com/office/drawing/2014/main" id="{A93CA636-D4E0-2A42-89B9-2078204CB09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Oval 157">
                <a:extLst>
                  <a:ext uri="{FF2B5EF4-FFF2-40B4-BE49-F238E27FC236}">
                    <a16:creationId xmlns="" xmlns:a16="http://schemas.microsoft.com/office/drawing/2014/main" id="{86724194-E826-CB46-8D5B-34CD0BDECC1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a:extLst>
                  <a:ext uri="{FF2B5EF4-FFF2-40B4-BE49-F238E27FC236}">
                    <a16:creationId xmlns="" xmlns:a16="http://schemas.microsoft.com/office/drawing/2014/main" id="{BBD69B53-19C6-C745-A764-E1A4527A7D1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9" name="Group 138">
              <a:extLst>
                <a:ext uri="{FF2B5EF4-FFF2-40B4-BE49-F238E27FC236}">
                  <a16:creationId xmlns="" xmlns:a16="http://schemas.microsoft.com/office/drawing/2014/main" id="{C1B1FF87-1776-CC49-AE5A-70C5F0C8247C}"/>
                </a:ext>
              </a:extLst>
            </p:cNvPr>
            <p:cNvGrpSpPr/>
            <p:nvPr/>
          </p:nvGrpSpPr>
          <p:grpSpPr>
            <a:xfrm rot="5400000">
              <a:off x="1055270" y="223441"/>
              <a:ext cx="86591" cy="1729654"/>
              <a:chOff x="85292" y="59892"/>
              <a:chExt cx="86591" cy="1729654"/>
            </a:xfrm>
            <a:grpFill/>
          </p:grpSpPr>
          <p:sp>
            <p:nvSpPr>
              <p:cNvPr id="140" name="Oval 139">
                <a:extLst>
                  <a:ext uri="{FF2B5EF4-FFF2-40B4-BE49-F238E27FC236}">
                    <a16:creationId xmlns="" xmlns:a16="http://schemas.microsoft.com/office/drawing/2014/main" id="{52895DEC-3BFE-D149-8D78-BEE7197BE28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a:extLst>
                  <a:ext uri="{FF2B5EF4-FFF2-40B4-BE49-F238E27FC236}">
                    <a16:creationId xmlns="" xmlns:a16="http://schemas.microsoft.com/office/drawing/2014/main" id="{B323F1A2-F6A4-524A-A16A-6D597C58A14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Oval 141">
                <a:extLst>
                  <a:ext uri="{FF2B5EF4-FFF2-40B4-BE49-F238E27FC236}">
                    <a16:creationId xmlns="" xmlns:a16="http://schemas.microsoft.com/office/drawing/2014/main" id="{A9230942-78B2-6146-9604-96F7038F74E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Oval 142">
                <a:extLst>
                  <a:ext uri="{FF2B5EF4-FFF2-40B4-BE49-F238E27FC236}">
                    <a16:creationId xmlns="" xmlns:a16="http://schemas.microsoft.com/office/drawing/2014/main" id="{EFD4C1DB-9EA3-534D-A9B6-5174C1F959C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val 143">
                <a:extLst>
                  <a:ext uri="{FF2B5EF4-FFF2-40B4-BE49-F238E27FC236}">
                    <a16:creationId xmlns="" xmlns:a16="http://schemas.microsoft.com/office/drawing/2014/main" id="{70190643-E811-5D4A-8C49-05F2DFB231B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a:extLst>
                  <a:ext uri="{FF2B5EF4-FFF2-40B4-BE49-F238E27FC236}">
                    <a16:creationId xmlns="" xmlns:a16="http://schemas.microsoft.com/office/drawing/2014/main" id="{3E653044-7A86-9C49-9248-3BA4DAC5435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Oval 145">
                <a:extLst>
                  <a:ext uri="{FF2B5EF4-FFF2-40B4-BE49-F238E27FC236}">
                    <a16:creationId xmlns="" xmlns:a16="http://schemas.microsoft.com/office/drawing/2014/main" id="{D66719B0-34B7-F04A-88C6-4875631FF40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a:extLst>
                  <a:ext uri="{FF2B5EF4-FFF2-40B4-BE49-F238E27FC236}">
                    <a16:creationId xmlns="" xmlns:a16="http://schemas.microsoft.com/office/drawing/2014/main" id="{16854EF1-598E-F842-8CBF-0DB40C7101C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 xmlns:a16="http://schemas.microsoft.com/office/drawing/2014/main" id="{70C227F3-1124-0F44-B650-5EA6BBCD911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a:extLst>
                  <a:ext uri="{FF2B5EF4-FFF2-40B4-BE49-F238E27FC236}">
                    <a16:creationId xmlns="" xmlns:a16="http://schemas.microsoft.com/office/drawing/2014/main" id="{0380B99D-97E5-2443-BD81-4E8B1F9677D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62" name="Rectangle 61">
            <a:extLst>
              <a:ext uri="{FF2B5EF4-FFF2-40B4-BE49-F238E27FC236}">
                <a16:creationId xmlns="" xmlns:a16="http://schemas.microsoft.com/office/drawing/2014/main" id="{D559B658-F1DD-4235-A315-5FA31630973F}"/>
              </a:ext>
            </a:extLst>
          </p:cNvPr>
          <p:cNvSpPr/>
          <p:nvPr/>
        </p:nvSpPr>
        <p:spPr>
          <a:xfrm>
            <a:off x="714033" y="185991"/>
            <a:ext cx="4325910" cy="1047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 xmlns:a16="http://schemas.microsoft.com/office/drawing/2014/main" id="{741F1DEF-32DD-40D0-B63D-396863A5080A}"/>
              </a:ext>
            </a:extLst>
          </p:cNvPr>
          <p:cNvSpPr/>
          <p:nvPr/>
        </p:nvSpPr>
        <p:spPr>
          <a:xfrm>
            <a:off x="308918" y="456297"/>
            <a:ext cx="4422107" cy="422243"/>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itle 1"/>
          <p:cNvSpPr txBox="1">
            <a:spLocks/>
          </p:cNvSpPr>
          <p:nvPr/>
        </p:nvSpPr>
        <p:spPr>
          <a:xfrm>
            <a:off x="395167" y="396987"/>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en-US" sz="3200" dirty="0" err="1" smtClean="0"/>
              <a:t>Latar</a:t>
            </a:r>
            <a:r>
              <a:rPr lang="en-US" sz="3200" dirty="0" smtClean="0"/>
              <a:t> </a:t>
            </a:r>
            <a:r>
              <a:rPr lang="en-US" sz="3200" dirty="0" err="1" smtClean="0"/>
              <a:t>belakang</a:t>
            </a:r>
            <a:endParaRPr lang="en-US" sz="3200" dirty="0"/>
          </a:p>
        </p:txBody>
      </p:sp>
      <p:sp>
        <p:nvSpPr>
          <p:cNvPr id="13321" name="Rectangle 9"/>
          <p:cNvSpPr>
            <a:spLocks noChangeArrowheads="1"/>
          </p:cNvSpPr>
          <p:nvPr/>
        </p:nvSpPr>
        <p:spPr bwMode="auto">
          <a:xfrm>
            <a:off x="0" y="0"/>
            <a:ext cx="12192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Times New Roman" pitchFamily="18" charset="0"/>
                <a:ea typeface="Calibri" pitchFamily="34" charset="0"/>
                <a:cs typeface="Times New Roman" pitchFamily="18" charset="0"/>
              </a:rPr>
              <a:t>Perkembangan teknologi yang semakin pesat, khususnya teknologi informasi, dapat mempermudah perusahaan untuk melakukan aktivitas sebagai sarana pendukung produktivitas. Proses ini mengubah sistem yang semula masih manual menjadi terkomputerisasi salah satunya adalah Sistem Informasi Penjualan Cafe.</a:t>
            </a:r>
            <a:endParaRPr kumimoji="0" lang="en-US" sz="1100" b="0" i="0" u="none" strike="noStrike" cap="none" normalizeH="0" baseline="0" smtClean="0">
              <a:ln>
                <a:noFill/>
              </a:ln>
              <a:solidFill>
                <a:schemeClr val="tx1"/>
              </a:solidFill>
              <a:effectLst/>
              <a:latin typeface="Arial" pitchFamily="34" charset="0"/>
              <a:cs typeface="Arial" pitchFamily="34" charset="0"/>
            </a:endParaRPr>
          </a:p>
          <a:p>
            <a:pPr marL="0" marR="0" lvl="0" indent="450850" algn="just"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Times New Roman" pitchFamily="18" charset="0"/>
                <a:ea typeface="Calibri" pitchFamily="34" charset="0"/>
                <a:cs typeface="Times New Roman" pitchFamily="18" charset="0"/>
              </a:rPr>
              <a:t>Untuk merubah sistem yang semualanya manual menjadi terkomputerisasi disini penulis bertujuan dapat merancang sebuah sistem informasi berbasis web sebagai tugas akhir Mata Kuliah “Pemerograman Berbasi Web”  dengan tujuan dapat menjadi solusi dari pengeloaan data secara manual.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73" name="Rectangle 72"/>
          <p:cNvSpPr/>
          <p:nvPr/>
        </p:nvSpPr>
        <p:spPr>
          <a:xfrm>
            <a:off x="347662" y="1262737"/>
            <a:ext cx="11153775" cy="4832092"/>
          </a:xfrm>
          <a:prstGeom prst="rect">
            <a:avLst/>
          </a:prstGeom>
        </p:spPr>
        <p:txBody>
          <a:bodyPr wrap="square">
            <a:spAutoFit/>
          </a:bodyPr>
          <a:lstStyle/>
          <a:p>
            <a:pPr algn="just"/>
            <a:r>
              <a:rPr lang="en-US" sz="2800" dirty="0" err="1" smtClean="0">
                <a:solidFill>
                  <a:schemeClr val="bg1"/>
                </a:solidFill>
                <a:latin typeface="Segoe UI Historic" pitchFamily="34" charset="0"/>
                <a:ea typeface="Segoe UI Historic" pitchFamily="34" charset="0"/>
                <a:cs typeface="Segoe UI Historic" pitchFamily="34" charset="0"/>
              </a:rPr>
              <a:t>Perkembang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eknologi</a:t>
            </a:r>
            <a:r>
              <a:rPr lang="en-US" sz="2800" dirty="0" smtClean="0">
                <a:solidFill>
                  <a:schemeClr val="bg1"/>
                </a:solidFill>
                <a:latin typeface="Segoe UI Historic" pitchFamily="34" charset="0"/>
                <a:ea typeface="Segoe UI Historic" pitchFamily="34" charset="0"/>
                <a:cs typeface="Segoe UI Historic" pitchFamily="34" charset="0"/>
              </a:rPr>
              <a:t> yang </a:t>
            </a:r>
            <a:r>
              <a:rPr lang="en-US" sz="2800" dirty="0" err="1" smtClean="0">
                <a:solidFill>
                  <a:schemeClr val="bg1"/>
                </a:solidFill>
                <a:latin typeface="Segoe UI Historic" pitchFamily="34" charset="0"/>
                <a:ea typeface="Segoe UI Historic" pitchFamily="34" charset="0"/>
                <a:cs typeface="Segoe UI Historic" pitchFamily="34" charset="0"/>
              </a:rPr>
              <a:t>semaki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esat</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khususnya</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eknolog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informa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apat</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mpermuda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erusaha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untuk</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lakuk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aktivitas</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ebaga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arana</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endukung</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roduktivitas</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roses</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in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nguba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istem</a:t>
            </a:r>
            <a:r>
              <a:rPr lang="en-US" sz="2800" dirty="0" smtClean="0">
                <a:solidFill>
                  <a:schemeClr val="bg1"/>
                </a:solidFill>
                <a:latin typeface="Segoe UI Historic" pitchFamily="34" charset="0"/>
                <a:ea typeface="Segoe UI Historic" pitchFamily="34" charset="0"/>
                <a:cs typeface="Segoe UI Historic" pitchFamily="34" charset="0"/>
              </a:rPr>
              <a:t> yang </a:t>
            </a:r>
            <a:r>
              <a:rPr lang="en-US" sz="2800" dirty="0" err="1" smtClean="0">
                <a:solidFill>
                  <a:schemeClr val="bg1"/>
                </a:solidFill>
                <a:latin typeface="Segoe UI Historic" pitchFamily="34" charset="0"/>
                <a:ea typeface="Segoe UI Historic" pitchFamily="34" charset="0"/>
                <a:cs typeface="Segoe UI Historic" pitchFamily="34" charset="0"/>
              </a:rPr>
              <a:t>semula</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asih</a:t>
            </a:r>
            <a:r>
              <a:rPr lang="en-US" sz="2800" dirty="0" smtClean="0">
                <a:solidFill>
                  <a:schemeClr val="bg1"/>
                </a:solidFill>
                <a:latin typeface="Segoe UI Historic" pitchFamily="34" charset="0"/>
                <a:ea typeface="Segoe UI Historic" pitchFamily="34" charset="0"/>
                <a:cs typeface="Segoe UI Historic" pitchFamily="34" charset="0"/>
              </a:rPr>
              <a:t> manual </a:t>
            </a:r>
            <a:r>
              <a:rPr lang="en-US" sz="2800" dirty="0" err="1" smtClean="0">
                <a:solidFill>
                  <a:schemeClr val="bg1"/>
                </a:solidFill>
                <a:latin typeface="Segoe UI Historic" pitchFamily="34" charset="0"/>
                <a:ea typeface="Segoe UI Historic" pitchFamily="34" charset="0"/>
                <a:cs typeface="Segoe UI Historic" pitchFamily="34" charset="0"/>
              </a:rPr>
              <a:t>menjad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erkomputerisa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ala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atunya</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adala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istem</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Informa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enjualan</a:t>
            </a:r>
            <a:r>
              <a:rPr lang="en-US" sz="2800" dirty="0" smtClean="0">
                <a:solidFill>
                  <a:schemeClr val="bg1"/>
                </a:solidFill>
                <a:latin typeface="Segoe UI Historic" pitchFamily="34" charset="0"/>
                <a:ea typeface="Segoe UI Historic" pitchFamily="34" charset="0"/>
                <a:cs typeface="Segoe UI Historic" pitchFamily="34" charset="0"/>
              </a:rPr>
              <a:t> Cafe.</a:t>
            </a:r>
          </a:p>
          <a:p>
            <a:pPr algn="just"/>
            <a:r>
              <a:rPr lang="en-US" sz="2800" dirty="0" err="1" smtClean="0">
                <a:solidFill>
                  <a:schemeClr val="bg1"/>
                </a:solidFill>
                <a:latin typeface="Segoe UI Historic" pitchFamily="34" charset="0"/>
                <a:ea typeface="Segoe UI Historic" pitchFamily="34" charset="0"/>
                <a:cs typeface="Segoe UI Historic" pitchFamily="34" charset="0"/>
              </a:rPr>
              <a:t>Untuk</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ruba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istem</a:t>
            </a:r>
            <a:r>
              <a:rPr lang="en-US" sz="2800" dirty="0" smtClean="0">
                <a:solidFill>
                  <a:schemeClr val="bg1"/>
                </a:solidFill>
                <a:latin typeface="Segoe UI Historic" pitchFamily="34" charset="0"/>
                <a:ea typeface="Segoe UI Historic" pitchFamily="34" charset="0"/>
                <a:cs typeface="Segoe UI Historic" pitchFamily="34" charset="0"/>
              </a:rPr>
              <a:t> yang </a:t>
            </a:r>
            <a:r>
              <a:rPr lang="en-US" sz="2800" dirty="0" err="1" smtClean="0">
                <a:solidFill>
                  <a:schemeClr val="bg1"/>
                </a:solidFill>
                <a:latin typeface="Segoe UI Historic" pitchFamily="34" charset="0"/>
                <a:ea typeface="Segoe UI Historic" pitchFamily="34" charset="0"/>
                <a:cs typeface="Segoe UI Historic" pitchFamily="34" charset="0"/>
              </a:rPr>
              <a:t>semualanya</a:t>
            </a:r>
            <a:r>
              <a:rPr lang="en-US" sz="2800" dirty="0" smtClean="0">
                <a:solidFill>
                  <a:schemeClr val="bg1"/>
                </a:solidFill>
                <a:latin typeface="Segoe UI Historic" pitchFamily="34" charset="0"/>
                <a:ea typeface="Segoe UI Historic" pitchFamily="34" charset="0"/>
                <a:cs typeface="Segoe UI Historic" pitchFamily="34" charset="0"/>
              </a:rPr>
              <a:t> manual </a:t>
            </a:r>
            <a:r>
              <a:rPr lang="en-US" sz="2800" dirty="0" err="1" smtClean="0">
                <a:solidFill>
                  <a:schemeClr val="bg1"/>
                </a:solidFill>
                <a:latin typeface="Segoe UI Historic" pitchFamily="34" charset="0"/>
                <a:ea typeface="Segoe UI Historic" pitchFamily="34" charset="0"/>
                <a:cs typeface="Segoe UI Historic" pitchFamily="34" charset="0"/>
              </a:rPr>
              <a:t>menjad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erkomputerisa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isin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enulis</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bertuju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apat</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rancang</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ebua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istem</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informa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berbasis</a:t>
            </a:r>
            <a:r>
              <a:rPr lang="en-US" sz="2800" dirty="0" smtClean="0">
                <a:solidFill>
                  <a:schemeClr val="bg1"/>
                </a:solidFill>
                <a:latin typeface="Segoe UI Historic" pitchFamily="34" charset="0"/>
                <a:ea typeface="Segoe UI Historic" pitchFamily="34" charset="0"/>
                <a:cs typeface="Segoe UI Historic" pitchFamily="34" charset="0"/>
              </a:rPr>
              <a:t> web </a:t>
            </a:r>
            <a:r>
              <a:rPr lang="en-US" sz="2800" dirty="0" err="1" smtClean="0">
                <a:solidFill>
                  <a:schemeClr val="bg1"/>
                </a:solidFill>
                <a:latin typeface="Segoe UI Historic" pitchFamily="34" charset="0"/>
                <a:ea typeface="Segoe UI Historic" pitchFamily="34" charset="0"/>
                <a:cs typeface="Segoe UI Historic" pitchFamily="34" charset="0"/>
              </a:rPr>
              <a:t>sebaga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ugas</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akhir</a:t>
            </a:r>
            <a:r>
              <a:rPr lang="en-US" sz="2800" dirty="0" smtClean="0">
                <a:solidFill>
                  <a:schemeClr val="bg1"/>
                </a:solidFill>
                <a:latin typeface="Segoe UI Historic" pitchFamily="34" charset="0"/>
                <a:ea typeface="Segoe UI Historic" pitchFamily="34" charset="0"/>
                <a:cs typeface="Segoe UI Historic" pitchFamily="34" charset="0"/>
              </a:rPr>
              <a:t> Mata </a:t>
            </a:r>
            <a:r>
              <a:rPr lang="en-US" sz="2800" dirty="0" err="1" smtClean="0">
                <a:solidFill>
                  <a:schemeClr val="bg1"/>
                </a:solidFill>
                <a:latin typeface="Segoe UI Historic" pitchFamily="34" charset="0"/>
                <a:ea typeface="Segoe UI Historic" pitchFamily="34" charset="0"/>
                <a:cs typeface="Segoe UI Historic" pitchFamily="34" charset="0"/>
              </a:rPr>
              <a:t>Kulia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emerogram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Berbasis</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smtClean="0">
                <a:solidFill>
                  <a:schemeClr val="bg1"/>
                </a:solidFill>
                <a:latin typeface="Segoe UI Historic" pitchFamily="34" charset="0"/>
                <a:ea typeface="Segoe UI Historic" pitchFamily="34" charset="0"/>
                <a:cs typeface="Segoe UI Historic" pitchFamily="34" charset="0"/>
              </a:rPr>
              <a:t>Web”  </a:t>
            </a:r>
            <a:r>
              <a:rPr lang="en-US" sz="2800" dirty="0" err="1" smtClean="0">
                <a:solidFill>
                  <a:schemeClr val="bg1"/>
                </a:solidFill>
                <a:latin typeface="Segoe UI Historic" pitchFamily="34" charset="0"/>
                <a:ea typeface="Segoe UI Historic" pitchFamily="34" charset="0"/>
                <a:cs typeface="Segoe UI Historic" pitchFamily="34" charset="0"/>
              </a:rPr>
              <a:t>deng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uju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apat</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njad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olu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ar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engeloaan</a:t>
            </a:r>
            <a:r>
              <a:rPr lang="en-US" sz="2800" dirty="0" smtClean="0">
                <a:solidFill>
                  <a:schemeClr val="bg1"/>
                </a:solidFill>
                <a:latin typeface="Segoe UI Historic" pitchFamily="34" charset="0"/>
                <a:ea typeface="Segoe UI Historic" pitchFamily="34" charset="0"/>
                <a:cs typeface="Segoe UI Historic" pitchFamily="34" charset="0"/>
              </a:rPr>
              <a:t> data </a:t>
            </a:r>
            <a:r>
              <a:rPr lang="en-US" sz="2800" dirty="0" err="1" smtClean="0">
                <a:solidFill>
                  <a:schemeClr val="bg1"/>
                </a:solidFill>
                <a:latin typeface="Segoe UI Historic" pitchFamily="34" charset="0"/>
                <a:ea typeface="Segoe UI Historic" pitchFamily="34" charset="0"/>
                <a:cs typeface="Segoe UI Historic" pitchFamily="34" charset="0"/>
              </a:rPr>
              <a:t>secara</a:t>
            </a:r>
            <a:r>
              <a:rPr lang="en-US" sz="2800" dirty="0" smtClean="0">
                <a:solidFill>
                  <a:schemeClr val="bg1"/>
                </a:solidFill>
                <a:latin typeface="Segoe UI Historic" pitchFamily="34" charset="0"/>
                <a:ea typeface="Segoe UI Historic" pitchFamily="34" charset="0"/>
                <a:cs typeface="Segoe UI Historic" pitchFamily="34" charset="0"/>
              </a:rPr>
              <a:t> manual. </a:t>
            </a:r>
            <a:endParaRPr lang="en-US" sz="2800" dirty="0">
              <a:solidFill>
                <a:schemeClr val="bg1"/>
              </a:solidFill>
              <a:latin typeface="Segoe UI Historic" pitchFamily="34" charset="0"/>
              <a:ea typeface="Segoe UI Historic" pitchFamily="34" charset="0"/>
              <a:cs typeface="Segoe UI Historic" pitchFamily="34" charset="0"/>
            </a:endParaRPr>
          </a:p>
        </p:txBody>
      </p:sp>
    </p:spTree>
    <p:extLst>
      <p:ext uri="{BB962C8B-B14F-4D97-AF65-F5344CB8AC3E}">
        <p14:creationId xmlns="" xmlns:p14="http://schemas.microsoft.com/office/powerpoint/2010/main" val="20959420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3CEF3866-0F46-428D-B7FA-0FC3D1FD1D1A}"/>
              </a:ext>
            </a:extLst>
          </p:cNvPr>
          <p:cNvPicPr>
            <a:picLocks noChangeAspect="1"/>
          </p:cNvPicPr>
          <p:nvPr/>
        </p:nvPicPr>
        <p:blipFill rotWithShape="1">
          <a:blip r:embed="rId3" cstate="screen">
            <a:extLst>
              <a:ext uri="{BEBA8EAE-BF5A-486C-A8C5-ECC9F3942E4B}">
                <a14:imgProps xmlns="" xmlns:a14="http://schemas.microsoft.com/office/drawing/2010/main">
                  <a14:imgLayer r:embed="rId4">
                    <a14:imgEffect>
                      <a14:saturation sat="0"/>
                    </a14:imgEffect>
                  </a14:imgLayer>
                </a14:imgProps>
              </a:ext>
              <a:ext uri="{28A0092B-C50C-407E-A947-70E740481C1C}">
                <a14:useLocalDpi xmlns="" xmlns:a14="http://schemas.microsoft.com/office/drawing/2010/main"/>
              </a:ext>
            </a:extLst>
          </a:blip>
          <a:srcRect t="7812" b="7812"/>
          <a:stretch/>
        </p:blipFill>
        <p:spPr>
          <a:xfrm>
            <a:off x="0" y="0"/>
            <a:ext cx="12192000" cy="6858000"/>
          </a:xfrm>
          <a:prstGeom prst="rect">
            <a:avLst/>
          </a:prstGeom>
        </p:spPr>
      </p:pic>
      <p:sp>
        <p:nvSpPr>
          <p:cNvPr id="2" name="Rectangle 1">
            <a:extLst>
              <a:ext uri="{FF2B5EF4-FFF2-40B4-BE49-F238E27FC236}">
                <a16:creationId xmlns="" xmlns:a16="http://schemas.microsoft.com/office/drawing/2014/main" id="{F8CA1E79-EDA9-4AC8-ACA5-1DFC75DEFF30}"/>
              </a:ext>
            </a:extLst>
          </p:cNvPr>
          <p:cNvSpPr/>
          <p:nvPr/>
        </p:nvSpPr>
        <p:spPr>
          <a:xfrm>
            <a:off x="-18561" y="7641"/>
            <a:ext cx="12192000" cy="6858000"/>
          </a:xfrm>
          <a:prstGeom prst="rect">
            <a:avLst/>
          </a:prstGeom>
          <a:gradFill flip="none" rotWithShape="1">
            <a:gsLst>
              <a:gs pos="0">
                <a:schemeClr val="tx1"/>
              </a:gs>
              <a:gs pos="100000">
                <a:schemeClr val="tx1"/>
              </a:gs>
              <a:gs pos="53000">
                <a:schemeClr val="tx1">
                  <a:alpha val="80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Shape 16">
            <a:extLst>
              <a:ext uri="{FF2B5EF4-FFF2-40B4-BE49-F238E27FC236}">
                <a16:creationId xmlns="" xmlns:a16="http://schemas.microsoft.com/office/drawing/2014/main" id="{B3E94E4B-7B2C-457A-B85C-5DA8C02A76E0}"/>
              </a:ext>
            </a:extLst>
          </p:cNvPr>
          <p:cNvSpPr/>
          <p:nvPr/>
        </p:nvSpPr>
        <p:spPr>
          <a:xfrm>
            <a:off x="9055100" y="3517900"/>
            <a:ext cx="3136900" cy="3340100"/>
          </a:xfrm>
          <a:custGeom>
            <a:avLst/>
            <a:gdLst>
              <a:gd name="connsiteX0" fmla="*/ 3136900 w 3136900"/>
              <a:gd name="connsiteY0" fmla="*/ 2768365 h 3340100"/>
              <a:gd name="connsiteX1" fmla="*/ 3136900 w 3136900"/>
              <a:gd name="connsiteY1" fmla="*/ 3340100 h 3340100"/>
              <a:gd name="connsiteX2" fmla="*/ 2201559 w 3136900"/>
              <a:gd name="connsiteY2" fmla="*/ 3340100 h 3340100"/>
              <a:gd name="connsiteX3" fmla="*/ 2323630 w 3136900"/>
              <a:gd name="connsiteY3" fmla="*/ 3321470 h 3340100"/>
              <a:gd name="connsiteX4" fmla="*/ 3128521 w 3136900"/>
              <a:gd name="connsiteY4" fmla="*/ 2782158 h 3340100"/>
              <a:gd name="connsiteX5" fmla="*/ 2076450 w 3136900"/>
              <a:gd name="connsiteY5" fmla="*/ 0 h 3340100"/>
              <a:gd name="connsiteX6" fmla="*/ 3066210 w 3136900"/>
              <a:gd name="connsiteY6" fmla="*/ 250616 h 3340100"/>
              <a:gd name="connsiteX7" fmla="*/ 3136900 w 3136900"/>
              <a:gd name="connsiteY7" fmla="*/ 293562 h 3340100"/>
              <a:gd name="connsiteX8" fmla="*/ 3136900 w 3136900"/>
              <a:gd name="connsiteY8" fmla="*/ 1362029 h 3340100"/>
              <a:gd name="connsiteX9" fmla="*/ 3128521 w 3136900"/>
              <a:gd name="connsiteY9" fmla="*/ 1348237 h 3340100"/>
              <a:gd name="connsiteX10" fmla="*/ 2065197 w 3136900"/>
              <a:gd name="connsiteY10" fmla="*/ 782872 h 3340100"/>
              <a:gd name="connsiteX11" fmla="*/ 782872 w 3136900"/>
              <a:gd name="connsiteY11" fmla="*/ 2065197 h 3340100"/>
              <a:gd name="connsiteX12" fmla="*/ 1806764 w 3136900"/>
              <a:gd name="connsiteY12" fmla="*/ 3321470 h 3340100"/>
              <a:gd name="connsiteX13" fmla="*/ 1928835 w 3136900"/>
              <a:gd name="connsiteY13" fmla="*/ 3340100 h 3340100"/>
              <a:gd name="connsiteX14" fmla="*/ 431413 w 3136900"/>
              <a:gd name="connsiteY14" fmla="*/ 3340100 h 3340100"/>
              <a:gd name="connsiteX15" fmla="*/ 354625 w 3136900"/>
              <a:gd name="connsiteY15" fmla="*/ 3237413 h 3340100"/>
              <a:gd name="connsiteX16" fmla="*/ 0 w 3136900"/>
              <a:gd name="connsiteY16" fmla="*/ 2076450 h 3340100"/>
              <a:gd name="connsiteX17" fmla="*/ 2076450 w 3136900"/>
              <a:gd name="connsiteY17" fmla="*/ 0 h 334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36900" h="3340100">
                <a:moveTo>
                  <a:pt x="3136900" y="2768365"/>
                </a:moveTo>
                <a:lnTo>
                  <a:pt x="3136900" y="3340100"/>
                </a:lnTo>
                <a:lnTo>
                  <a:pt x="2201559" y="3340100"/>
                </a:lnTo>
                <a:lnTo>
                  <a:pt x="2323630" y="3321470"/>
                </a:lnTo>
                <a:cubicBezTo>
                  <a:pt x="2657536" y="3253143"/>
                  <a:pt x="2944167" y="3055038"/>
                  <a:pt x="3128521" y="2782158"/>
                </a:cubicBezTo>
                <a:close/>
                <a:moveTo>
                  <a:pt x="2076450" y="0"/>
                </a:moveTo>
                <a:cubicBezTo>
                  <a:pt x="2434823" y="0"/>
                  <a:pt x="2771991" y="90787"/>
                  <a:pt x="3066210" y="250616"/>
                </a:cubicBezTo>
                <a:lnTo>
                  <a:pt x="3136900" y="293562"/>
                </a:lnTo>
                <a:lnTo>
                  <a:pt x="3136900" y="1362029"/>
                </a:lnTo>
                <a:lnTo>
                  <a:pt x="3128521" y="1348237"/>
                </a:lnTo>
                <a:cubicBezTo>
                  <a:pt x="2898078" y="1007136"/>
                  <a:pt x="2507828" y="782872"/>
                  <a:pt x="2065197" y="782872"/>
                </a:cubicBezTo>
                <a:cubicBezTo>
                  <a:pt x="1356988" y="782872"/>
                  <a:pt x="782872" y="1356988"/>
                  <a:pt x="782872" y="2065197"/>
                </a:cubicBezTo>
                <a:cubicBezTo>
                  <a:pt x="782872" y="2684880"/>
                  <a:pt x="1222430" y="3201898"/>
                  <a:pt x="1806764" y="3321470"/>
                </a:cubicBezTo>
                <a:lnTo>
                  <a:pt x="1928835" y="3340100"/>
                </a:lnTo>
                <a:lnTo>
                  <a:pt x="431413" y="3340100"/>
                </a:lnTo>
                <a:lnTo>
                  <a:pt x="354625" y="3237413"/>
                </a:lnTo>
                <a:cubicBezTo>
                  <a:pt x="130733" y="2906010"/>
                  <a:pt x="0" y="2506497"/>
                  <a:pt x="0" y="2076450"/>
                </a:cubicBezTo>
                <a:cubicBezTo>
                  <a:pt x="0" y="929658"/>
                  <a:pt x="929658" y="0"/>
                  <a:pt x="2076450" y="0"/>
                </a:cubicBezTo>
                <a:close/>
              </a:path>
            </a:pathLst>
          </a:custGeom>
          <a:pattFill prst="dkUpDiag">
            <a:fgClr>
              <a:schemeClr val="accent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33" name="Straight Connector 32">
            <a:extLst>
              <a:ext uri="{FF2B5EF4-FFF2-40B4-BE49-F238E27FC236}">
                <a16:creationId xmlns="" xmlns:a16="http://schemas.microsoft.com/office/drawing/2014/main" id="{D3BAD4DE-B7E2-4A40-A7BC-FE66B92D43D5}"/>
              </a:ext>
            </a:extLst>
          </p:cNvPr>
          <p:cNvCxnSpPr>
            <a:cxnSpLocks/>
          </p:cNvCxnSpPr>
          <p:nvPr/>
        </p:nvCxnSpPr>
        <p:spPr>
          <a:xfrm flipH="1">
            <a:off x="10426700" y="5723239"/>
            <a:ext cx="17653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 xmlns:a16="http://schemas.microsoft.com/office/drawing/2014/main" id="{A4B4032F-BA24-4100-9FA4-F75CFBB1FFDA}"/>
              </a:ext>
            </a:extLst>
          </p:cNvPr>
          <p:cNvGrpSpPr/>
          <p:nvPr/>
        </p:nvGrpSpPr>
        <p:grpSpPr>
          <a:xfrm rot="16200000" flipV="1">
            <a:off x="-636227" y="5411263"/>
            <a:ext cx="1729654" cy="848268"/>
            <a:chOff x="233739" y="283295"/>
            <a:chExt cx="1729654" cy="848268"/>
          </a:xfrm>
          <a:gradFill>
            <a:gsLst>
              <a:gs pos="0">
                <a:schemeClr val="accent5"/>
              </a:gs>
              <a:gs pos="100000">
                <a:schemeClr val="tx1">
                  <a:alpha val="0"/>
                </a:schemeClr>
              </a:gs>
            </a:gsLst>
            <a:lin ang="0" scaled="1"/>
          </a:gradFill>
        </p:grpSpPr>
        <p:grpSp>
          <p:nvGrpSpPr>
            <p:cNvPr id="42" name="Group 41">
              <a:extLst>
                <a:ext uri="{FF2B5EF4-FFF2-40B4-BE49-F238E27FC236}">
                  <a16:creationId xmlns="" xmlns:a16="http://schemas.microsoft.com/office/drawing/2014/main" id="{36EC4567-4DD5-4E8B-A1EB-D8A318ADD0CE}"/>
                </a:ext>
              </a:extLst>
            </p:cNvPr>
            <p:cNvGrpSpPr/>
            <p:nvPr/>
          </p:nvGrpSpPr>
          <p:grpSpPr>
            <a:xfrm rot="5400000">
              <a:off x="1055270" y="-538236"/>
              <a:ext cx="86591" cy="1729654"/>
              <a:chOff x="85292" y="59892"/>
              <a:chExt cx="86591" cy="1729654"/>
            </a:xfrm>
            <a:grpFill/>
          </p:grpSpPr>
          <p:sp>
            <p:nvSpPr>
              <p:cNvPr id="76" name="Oval 75">
                <a:extLst>
                  <a:ext uri="{FF2B5EF4-FFF2-40B4-BE49-F238E27FC236}">
                    <a16:creationId xmlns="" xmlns:a16="http://schemas.microsoft.com/office/drawing/2014/main" id="{6BF98E30-4FD7-458E-8D93-C10CA5F531E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 xmlns:a16="http://schemas.microsoft.com/office/drawing/2014/main" id="{CAA03B45-B3FF-4D68-9F84-041B4E84112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 xmlns:a16="http://schemas.microsoft.com/office/drawing/2014/main" id="{731046F8-2B37-437B-B618-E39A5E47BE1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 xmlns:a16="http://schemas.microsoft.com/office/drawing/2014/main" id="{8761B0E2-0012-4D2F-ACA0-D770AFF21A8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 xmlns:a16="http://schemas.microsoft.com/office/drawing/2014/main" id="{AD337897-012F-47AC-BE5B-86ECD7AC715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 xmlns:a16="http://schemas.microsoft.com/office/drawing/2014/main" id="{78C7B86F-D001-47C8-9095-37661820773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 xmlns:a16="http://schemas.microsoft.com/office/drawing/2014/main" id="{D1C208E1-879B-4CE1-9428-46EFA3DDE5D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 xmlns:a16="http://schemas.microsoft.com/office/drawing/2014/main" id="{94ADFA85-BBF8-4839-AAFE-87799100CB3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 xmlns:a16="http://schemas.microsoft.com/office/drawing/2014/main" id="{7201B9EF-BEA9-430D-AE39-6D3B4ECDC42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 xmlns:a16="http://schemas.microsoft.com/office/drawing/2014/main" id="{01EC8336-FE36-4556-803E-2C89ECD725D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a:extLst>
                <a:ext uri="{FF2B5EF4-FFF2-40B4-BE49-F238E27FC236}">
                  <a16:creationId xmlns="" xmlns:a16="http://schemas.microsoft.com/office/drawing/2014/main" id="{3EBF48A5-FC85-4FFB-B8ED-7036DB631521}"/>
                </a:ext>
              </a:extLst>
            </p:cNvPr>
            <p:cNvGrpSpPr/>
            <p:nvPr/>
          </p:nvGrpSpPr>
          <p:grpSpPr>
            <a:xfrm rot="5400000">
              <a:off x="1055270" y="-284344"/>
              <a:ext cx="86591" cy="1729654"/>
              <a:chOff x="85292" y="59892"/>
              <a:chExt cx="86591" cy="1729654"/>
            </a:xfrm>
            <a:grpFill/>
          </p:grpSpPr>
          <p:sp>
            <p:nvSpPr>
              <p:cNvPr id="66" name="Oval 65">
                <a:extLst>
                  <a:ext uri="{FF2B5EF4-FFF2-40B4-BE49-F238E27FC236}">
                    <a16:creationId xmlns="" xmlns:a16="http://schemas.microsoft.com/office/drawing/2014/main" id="{D863CC1D-C29C-4DDF-A095-A41A3BE9540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 xmlns:a16="http://schemas.microsoft.com/office/drawing/2014/main" id="{05299544-DB22-41FA-A650-1BA752C6B60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 xmlns:a16="http://schemas.microsoft.com/office/drawing/2014/main" id="{FDFE8622-900D-429D-99DD-ECA2BFB54F0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 xmlns:a16="http://schemas.microsoft.com/office/drawing/2014/main" id="{69CD0ACC-7FEB-4130-9A6B-5D7FEEF65B0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 xmlns:a16="http://schemas.microsoft.com/office/drawing/2014/main" id="{B98541BA-1B29-4D5C-9535-A0AEE33BD85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 xmlns:a16="http://schemas.microsoft.com/office/drawing/2014/main" id="{E9850825-8344-4D0A-BEBB-1F374068E8F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 xmlns:a16="http://schemas.microsoft.com/office/drawing/2014/main" id="{6D7C6291-7EC8-418B-BB0D-139F56040CD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 xmlns:a16="http://schemas.microsoft.com/office/drawing/2014/main" id="{2B724814-805A-404F-98D0-B1EE99C667D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 xmlns:a16="http://schemas.microsoft.com/office/drawing/2014/main" id="{18B6C967-D78B-4C18-99AF-1F8B4FDDA4F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 xmlns:a16="http://schemas.microsoft.com/office/drawing/2014/main" id="{A51C219C-5DFD-465F-B68C-9EFE2265365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 name="Group 43">
              <a:extLst>
                <a:ext uri="{FF2B5EF4-FFF2-40B4-BE49-F238E27FC236}">
                  <a16:creationId xmlns="" xmlns:a16="http://schemas.microsoft.com/office/drawing/2014/main" id="{C3D3A2E2-69A2-44B8-8F65-D6E58A09DB57}"/>
                </a:ext>
              </a:extLst>
            </p:cNvPr>
            <p:cNvGrpSpPr/>
            <p:nvPr/>
          </p:nvGrpSpPr>
          <p:grpSpPr>
            <a:xfrm rot="5400000">
              <a:off x="1055270" y="-30452"/>
              <a:ext cx="86591" cy="1729654"/>
              <a:chOff x="85292" y="59892"/>
              <a:chExt cx="86591" cy="1729654"/>
            </a:xfrm>
            <a:grpFill/>
          </p:grpSpPr>
          <p:sp>
            <p:nvSpPr>
              <p:cNvPr id="56" name="Oval 55">
                <a:extLst>
                  <a:ext uri="{FF2B5EF4-FFF2-40B4-BE49-F238E27FC236}">
                    <a16:creationId xmlns="" xmlns:a16="http://schemas.microsoft.com/office/drawing/2014/main" id="{C6ABFBF0-D4E0-4DA9-9883-9E0F168DDF4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 xmlns:a16="http://schemas.microsoft.com/office/drawing/2014/main" id="{88435DC7-FF73-45F6-B3CA-CD53743B9C7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 xmlns:a16="http://schemas.microsoft.com/office/drawing/2014/main" id="{8966C4EE-0DE8-4D87-8C08-AC8588E7073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 xmlns:a16="http://schemas.microsoft.com/office/drawing/2014/main" id="{002904D4-C7FE-4C5F-BF98-5D5DC3B5EB2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 xmlns:a16="http://schemas.microsoft.com/office/drawing/2014/main" id="{E4056F36-8292-4726-AF18-9F261E056B8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 xmlns:a16="http://schemas.microsoft.com/office/drawing/2014/main" id="{DF0AF2B3-F4CB-4A1D-82EF-304ECA9D8ED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 xmlns:a16="http://schemas.microsoft.com/office/drawing/2014/main" id="{1EBBFCCC-4227-44D9-8FED-04097478DAB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 xmlns:a16="http://schemas.microsoft.com/office/drawing/2014/main" id="{CEDA088C-C13B-4FB8-BF32-AB8F8AA188C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 xmlns:a16="http://schemas.microsoft.com/office/drawing/2014/main" id="{FEFC7C67-A0EE-40E1-B58B-EDD7CCD1A15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 xmlns:a16="http://schemas.microsoft.com/office/drawing/2014/main" id="{56A1EA8E-0C45-4DA3-9E23-479F15887AE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 name="Group 44">
              <a:extLst>
                <a:ext uri="{FF2B5EF4-FFF2-40B4-BE49-F238E27FC236}">
                  <a16:creationId xmlns="" xmlns:a16="http://schemas.microsoft.com/office/drawing/2014/main" id="{6A5A84E9-49CC-4DF3-B71A-22A7DE87C15D}"/>
                </a:ext>
              </a:extLst>
            </p:cNvPr>
            <p:cNvGrpSpPr/>
            <p:nvPr/>
          </p:nvGrpSpPr>
          <p:grpSpPr>
            <a:xfrm rot="5400000">
              <a:off x="1055270" y="223441"/>
              <a:ext cx="86591" cy="1729654"/>
              <a:chOff x="85292" y="59892"/>
              <a:chExt cx="86591" cy="1729654"/>
            </a:xfrm>
            <a:grpFill/>
          </p:grpSpPr>
          <p:sp>
            <p:nvSpPr>
              <p:cNvPr id="46" name="Oval 45">
                <a:extLst>
                  <a:ext uri="{FF2B5EF4-FFF2-40B4-BE49-F238E27FC236}">
                    <a16:creationId xmlns="" xmlns:a16="http://schemas.microsoft.com/office/drawing/2014/main" id="{EDD817FE-3A8E-4646-8D82-9E211CC38D7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 xmlns:a16="http://schemas.microsoft.com/office/drawing/2014/main" id="{B85F09D4-1F47-42E2-9350-487FBEC67AE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 xmlns:a16="http://schemas.microsoft.com/office/drawing/2014/main" id="{3B787361-5A57-45A6-9E9A-43DCFDCF66E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 xmlns:a16="http://schemas.microsoft.com/office/drawing/2014/main" id="{7BD0B4D3-44B2-4779-A359-00818FDDC88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 xmlns:a16="http://schemas.microsoft.com/office/drawing/2014/main" id="{10752F48-E3E2-46E3-B979-ED9139587B6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 xmlns:a16="http://schemas.microsoft.com/office/drawing/2014/main" id="{5F2282A3-C1DC-498F-A403-F4F3CF8BD7C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 xmlns:a16="http://schemas.microsoft.com/office/drawing/2014/main" id="{58046551-2CCD-4274-A11E-FBF6C0F1C7D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 xmlns:a16="http://schemas.microsoft.com/office/drawing/2014/main" id="{50CA7E90-3E6E-471C-B9E3-62C83357CF87}"/>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 xmlns:a16="http://schemas.microsoft.com/office/drawing/2014/main" id="{97FE5676-96C7-4C2B-B924-62B347A452E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 xmlns:a16="http://schemas.microsoft.com/office/drawing/2014/main" id="{944ED0B2-4919-46B7-AE2E-7812543B4E2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86" name="Group 85">
            <a:extLst>
              <a:ext uri="{FF2B5EF4-FFF2-40B4-BE49-F238E27FC236}">
                <a16:creationId xmlns="" xmlns:a16="http://schemas.microsoft.com/office/drawing/2014/main" id="{1A0D25D6-4FB0-48A1-B1EA-6840562025C0}"/>
              </a:ext>
            </a:extLst>
          </p:cNvPr>
          <p:cNvGrpSpPr/>
          <p:nvPr/>
        </p:nvGrpSpPr>
        <p:grpSpPr>
          <a:xfrm>
            <a:off x="10290370" y="240716"/>
            <a:ext cx="1729654" cy="848268"/>
            <a:chOff x="233739" y="283295"/>
            <a:chExt cx="1729654" cy="848268"/>
          </a:xfrm>
          <a:gradFill>
            <a:gsLst>
              <a:gs pos="100000">
                <a:schemeClr val="accent5"/>
              </a:gs>
              <a:gs pos="0">
                <a:schemeClr val="tx1">
                  <a:alpha val="0"/>
                </a:schemeClr>
              </a:gs>
            </a:gsLst>
            <a:lin ang="0" scaled="1"/>
          </a:gradFill>
        </p:grpSpPr>
        <p:grpSp>
          <p:nvGrpSpPr>
            <p:cNvPr id="87" name="Group 86">
              <a:extLst>
                <a:ext uri="{FF2B5EF4-FFF2-40B4-BE49-F238E27FC236}">
                  <a16:creationId xmlns="" xmlns:a16="http://schemas.microsoft.com/office/drawing/2014/main" id="{3826C9E7-5684-47B2-B110-6D3274BBEEB3}"/>
                </a:ext>
              </a:extLst>
            </p:cNvPr>
            <p:cNvGrpSpPr/>
            <p:nvPr/>
          </p:nvGrpSpPr>
          <p:grpSpPr>
            <a:xfrm rot="5400000">
              <a:off x="1055270" y="-538236"/>
              <a:ext cx="86591" cy="1729654"/>
              <a:chOff x="85292" y="59892"/>
              <a:chExt cx="86591" cy="1729654"/>
            </a:xfrm>
            <a:grpFill/>
          </p:grpSpPr>
          <p:sp>
            <p:nvSpPr>
              <p:cNvPr id="121" name="Oval 120">
                <a:extLst>
                  <a:ext uri="{FF2B5EF4-FFF2-40B4-BE49-F238E27FC236}">
                    <a16:creationId xmlns="" xmlns:a16="http://schemas.microsoft.com/office/drawing/2014/main" id="{67A346A0-F17E-4F68-B4DC-28DB0088FAC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 xmlns:a16="http://schemas.microsoft.com/office/drawing/2014/main" id="{E8A6C77B-F677-4BB2-829B-642B326B072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 xmlns:a16="http://schemas.microsoft.com/office/drawing/2014/main" id="{385954BB-9495-4C7F-B2DA-9879B553F3C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 xmlns:a16="http://schemas.microsoft.com/office/drawing/2014/main" id="{0954F40B-97CA-4453-AAF6-114C9E1B455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 xmlns:a16="http://schemas.microsoft.com/office/drawing/2014/main" id="{7B533063-E13E-465C-BEA1-BD4CE3111F6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a:extLst>
                  <a:ext uri="{FF2B5EF4-FFF2-40B4-BE49-F238E27FC236}">
                    <a16:creationId xmlns="" xmlns:a16="http://schemas.microsoft.com/office/drawing/2014/main" id="{472546CD-285E-476C-BF35-17E88947490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 xmlns:a16="http://schemas.microsoft.com/office/drawing/2014/main" id="{4E94C806-2422-4FFC-B15B-C0FE1E3AD7C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Oval 127">
                <a:extLst>
                  <a:ext uri="{FF2B5EF4-FFF2-40B4-BE49-F238E27FC236}">
                    <a16:creationId xmlns="" xmlns:a16="http://schemas.microsoft.com/office/drawing/2014/main" id="{46242270-84EE-4B5B-BB49-A09FD4A772F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Oval 128">
                <a:extLst>
                  <a:ext uri="{FF2B5EF4-FFF2-40B4-BE49-F238E27FC236}">
                    <a16:creationId xmlns="" xmlns:a16="http://schemas.microsoft.com/office/drawing/2014/main" id="{AB79E7EB-A291-4FF3-A04F-831BA36FF93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Oval 129">
                <a:extLst>
                  <a:ext uri="{FF2B5EF4-FFF2-40B4-BE49-F238E27FC236}">
                    <a16:creationId xmlns="" xmlns:a16="http://schemas.microsoft.com/office/drawing/2014/main" id="{75C9E77B-6C41-47D8-BBB5-F1D5A40E5DE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8" name="Group 87">
              <a:extLst>
                <a:ext uri="{FF2B5EF4-FFF2-40B4-BE49-F238E27FC236}">
                  <a16:creationId xmlns="" xmlns:a16="http://schemas.microsoft.com/office/drawing/2014/main" id="{BF74D9D0-3463-496E-9E57-271C6863E0B9}"/>
                </a:ext>
              </a:extLst>
            </p:cNvPr>
            <p:cNvGrpSpPr/>
            <p:nvPr/>
          </p:nvGrpSpPr>
          <p:grpSpPr>
            <a:xfrm rot="5400000">
              <a:off x="1055270" y="-284344"/>
              <a:ext cx="86591" cy="1729654"/>
              <a:chOff x="85292" y="59892"/>
              <a:chExt cx="86591" cy="1729654"/>
            </a:xfrm>
            <a:grpFill/>
          </p:grpSpPr>
          <p:sp>
            <p:nvSpPr>
              <p:cNvPr id="111" name="Oval 110">
                <a:extLst>
                  <a:ext uri="{FF2B5EF4-FFF2-40B4-BE49-F238E27FC236}">
                    <a16:creationId xmlns="" xmlns:a16="http://schemas.microsoft.com/office/drawing/2014/main" id="{42FE6857-9CEC-4448-9F32-7F3BFEA6406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a:extLst>
                  <a:ext uri="{FF2B5EF4-FFF2-40B4-BE49-F238E27FC236}">
                    <a16:creationId xmlns="" xmlns:a16="http://schemas.microsoft.com/office/drawing/2014/main" id="{261863F8-024D-49BD-9002-8A6EB462085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a:extLst>
                  <a:ext uri="{FF2B5EF4-FFF2-40B4-BE49-F238E27FC236}">
                    <a16:creationId xmlns="" xmlns:a16="http://schemas.microsoft.com/office/drawing/2014/main" id="{04259CCB-B97C-4B00-AC4A-9B34F1574E9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a:extLst>
                  <a:ext uri="{FF2B5EF4-FFF2-40B4-BE49-F238E27FC236}">
                    <a16:creationId xmlns="" xmlns:a16="http://schemas.microsoft.com/office/drawing/2014/main" id="{D0612675-47C5-429B-9480-D6A1A25F50F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a:extLst>
                  <a:ext uri="{FF2B5EF4-FFF2-40B4-BE49-F238E27FC236}">
                    <a16:creationId xmlns="" xmlns:a16="http://schemas.microsoft.com/office/drawing/2014/main" id="{6831949D-1594-4691-8983-CA614B5E9CF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Oval 115">
                <a:extLst>
                  <a:ext uri="{FF2B5EF4-FFF2-40B4-BE49-F238E27FC236}">
                    <a16:creationId xmlns="" xmlns:a16="http://schemas.microsoft.com/office/drawing/2014/main" id="{2021F83D-71DC-436F-BAFB-16C3799F377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 xmlns:a16="http://schemas.microsoft.com/office/drawing/2014/main" id="{ADDCEA54-8606-4C07-9B58-1C341ADFCE4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 xmlns:a16="http://schemas.microsoft.com/office/drawing/2014/main" id="{8A80E6E6-C352-4CFF-977D-C05C3F7DF04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 xmlns:a16="http://schemas.microsoft.com/office/drawing/2014/main" id="{F94F6FEB-C672-4C3D-BF3F-7691697BBC6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 xmlns:a16="http://schemas.microsoft.com/office/drawing/2014/main" id="{20DCA553-B015-4F5C-9110-7C244BA7BFE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Group 88">
              <a:extLst>
                <a:ext uri="{FF2B5EF4-FFF2-40B4-BE49-F238E27FC236}">
                  <a16:creationId xmlns="" xmlns:a16="http://schemas.microsoft.com/office/drawing/2014/main" id="{E8F163E1-EA2D-4102-8CBD-380C5D6E0631}"/>
                </a:ext>
              </a:extLst>
            </p:cNvPr>
            <p:cNvGrpSpPr/>
            <p:nvPr/>
          </p:nvGrpSpPr>
          <p:grpSpPr>
            <a:xfrm rot="5400000">
              <a:off x="1055270" y="-30452"/>
              <a:ext cx="86591" cy="1729654"/>
              <a:chOff x="85292" y="59892"/>
              <a:chExt cx="86591" cy="1729654"/>
            </a:xfrm>
            <a:grpFill/>
          </p:grpSpPr>
          <p:sp>
            <p:nvSpPr>
              <p:cNvPr id="101" name="Oval 100">
                <a:extLst>
                  <a:ext uri="{FF2B5EF4-FFF2-40B4-BE49-F238E27FC236}">
                    <a16:creationId xmlns="" xmlns:a16="http://schemas.microsoft.com/office/drawing/2014/main" id="{02B7E838-4D7D-49FC-B526-B567A6D7000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 xmlns:a16="http://schemas.microsoft.com/office/drawing/2014/main" id="{61E71965-CF59-451D-A5B9-9D2DDDE2068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a:extLst>
                  <a:ext uri="{FF2B5EF4-FFF2-40B4-BE49-F238E27FC236}">
                    <a16:creationId xmlns="" xmlns:a16="http://schemas.microsoft.com/office/drawing/2014/main" id="{E1F32D79-3D9A-43B5-9DAA-8A5F5443F89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 xmlns:a16="http://schemas.microsoft.com/office/drawing/2014/main" id="{ECE3A047-90F3-4CE7-9C5D-134BF3E78B7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 xmlns:a16="http://schemas.microsoft.com/office/drawing/2014/main" id="{30033215-AEAC-4435-8215-9F4991DC30A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 xmlns:a16="http://schemas.microsoft.com/office/drawing/2014/main" id="{2F7E7E5E-351A-4DC0-9C34-4E5CFB29572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 xmlns:a16="http://schemas.microsoft.com/office/drawing/2014/main" id="{DB2DF9D3-0EAF-44A8-8933-C5945E70990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 xmlns:a16="http://schemas.microsoft.com/office/drawing/2014/main" id="{36FD165A-9970-4F2E-8323-AC3838CDA4B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 xmlns:a16="http://schemas.microsoft.com/office/drawing/2014/main" id="{40ABF239-2CDC-4141-8D0B-E12FE55DB91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 xmlns:a16="http://schemas.microsoft.com/office/drawing/2014/main" id="{2C8CF35B-4527-4F46-AD78-B347C524CD3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0" name="Group 89">
              <a:extLst>
                <a:ext uri="{FF2B5EF4-FFF2-40B4-BE49-F238E27FC236}">
                  <a16:creationId xmlns="" xmlns:a16="http://schemas.microsoft.com/office/drawing/2014/main" id="{D1A64456-6008-4020-8348-42E9302956B7}"/>
                </a:ext>
              </a:extLst>
            </p:cNvPr>
            <p:cNvGrpSpPr/>
            <p:nvPr/>
          </p:nvGrpSpPr>
          <p:grpSpPr>
            <a:xfrm rot="5400000">
              <a:off x="1055270" y="223441"/>
              <a:ext cx="86591" cy="1729654"/>
              <a:chOff x="85292" y="59892"/>
              <a:chExt cx="86591" cy="1729654"/>
            </a:xfrm>
            <a:grpFill/>
          </p:grpSpPr>
          <p:sp>
            <p:nvSpPr>
              <p:cNvPr id="91" name="Oval 90">
                <a:extLst>
                  <a:ext uri="{FF2B5EF4-FFF2-40B4-BE49-F238E27FC236}">
                    <a16:creationId xmlns="" xmlns:a16="http://schemas.microsoft.com/office/drawing/2014/main" id="{15AA0164-BFA0-4CAD-8F7E-9C7AE924601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 xmlns:a16="http://schemas.microsoft.com/office/drawing/2014/main" id="{AA2216D6-5A6B-4908-A34A-0E023CC6AAF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 xmlns:a16="http://schemas.microsoft.com/office/drawing/2014/main" id="{A5F5CA25-2769-435F-920E-C76E9B9BC9B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 xmlns:a16="http://schemas.microsoft.com/office/drawing/2014/main" id="{900777CB-A477-4B9F-BA9F-87E8663FB58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 xmlns:a16="http://schemas.microsoft.com/office/drawing/2014/main" id="{2171D77A-68F3-4EC2-9A78-3E6959988EE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 xmlns:a16="http://schemas.microsoft.com/office/drawing/2014/main" id="{9AD2DE8D-5310-4D6E-B846-BD857B1E153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 xmlns:a16="http://schemas.microsoft.com/office/drawing/2014/main" id="{FC941698-D2B7-4EB6-A808-55534BDBB4C0}"/>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a:extLst>
                  <a:ext uri="{FF2B5EF4-FFF2-40B4-BE49-F238E27FC236}">
                    <a16:creationId xmlns="" xmlns:a16="http://schemas.microsoft.com/office/drawing/2014/main" id="{F8E7C8A4-02BF-4319-BCC3-35B6201A815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 xmlns:a16="http://schemas.microsoft.com/office/drawing/2014/main" id="{CF379B05-DF67-4044-B9F3-67968CC202B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 xmlns:a16="http://schemas.microsoft.com/office/drawing/2014/main" id="{61C7E10B-87FE-40A7-9FAE-140561BCD24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35" name="Group 134">
            <a:extLst>
              <a:ext uri="{FF2B5EF4-FFF2-40B4-BE49-F238E27FC236}">
                <a16:creationId xmlns="" xmlns:a16="http://schemas.microsoft.com/office/drawing/2014/main" id="{261AEE3D-9001-4C82-9DCD-CE42686F6937}"/>
              </a:ext>
            </a:extLst>
          </p:cNvPr>
          <p:cNvGrpSpPr/>
          <p:nvPr/>
        </p:nvGrpSpPr>
        <p:grpSpPr>
          <a:xfrm rot="16200000" flipV="1">
            <a:off x="365259" y="5411263"/>
            <a:ext cx="1729654" cy="848268"/>
            <a:chOff x="233739" y="283295"/>
            <a:chExt cx="1729654" cy="848268"/>
          </a:xfrm>
          <a:gradFill>
            <a:gsLst>
              <a:gs pos="0">
                <a:schemeClr val="accent5"/>
              </a:gs>
              <a:gs pos="100000">
                <a:schemeClr val="tx1">
                  <a:alpha val="0"/>
                </a:schemeClr>
              </a:gs>
            </a:gsLst>
            <a:lin ang="0" scaled="1"/>
          </a:gradFill>
        </p:grpSpPr>
        <p:grpSp>
          <p:nvGrpSpPr>
            <p:cNvPr id="136" name="Group 135">
              <a:extLst>
                <a:ext uri="{FF2B5EF4-FFF2-40B4-BE49-F238E27FC236}">
                  <a16:creationId xmlns="" xmlns:a16="http://schemas.microsoft.com/office/drawing/2014/main" id="{A5342358-1EB6-4780-8BC4-8D9B3EA7FACB}"/>
                </a:ext>
              </a:extLst>
            </p:cNvPr>
            <p:cNvGrpSpPr/>
            <p:nvPr/>
          </p:nvGrpSpPr>
          <p:grpSpPr>
            <a:xfrm rot="5400000">
              <a:off x="1055270" y="-538236"/>
              <a:ext cx="86591" cy="1729654"/>
              <a:chOff x="85292" y="59892"/>
              <a:chExt cx="86591" cy="1729654"/>
            </a:xfrm>
            <a:grpFill/>
          </p:grpSpPr>
          <p:sp>
            <p:nvSpPr>
              <p:cNvPr id="170" name="Oval 169">
                <a:extLst>
                  <a:ext uri="{FF2B5EF4-FFF2-40B4-BE49-F238E27FC236}">
                    <a16:creationId xmlns="" xmlns:a16="http://schemas.microsoft.com/office/drawing/2014/main" id="{C4A8087B-C0B5-434A-A10C-7B33D44DAB28}"/>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Oval 170">
                <a:extLst>
                  <a:ext uri="{FF2B5EF4-FFF2-40B4-BE49-F238E27FC236}">
                    <a16:creationId xmlns="" xmlns:a16="http://schemas.microsoft.com/office/drawing/2014/main" id="{CD74B87B-D028-457A-A5FF-84E278F287C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Oval 171">
                <a:extLst>
                  <a:ext uri="{FF2B5EF4-FFF2-40B4-BE49-F238E27FC236}">
                    <a16:creationId xmlns="" xmlns:a16="http://schemas.microsoft.com/office/drawing/2014/main" id="{53E695C5-B56F-421A-83BD-26FDD28CE86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Oval 172">
                <a:extLst>
                  <a:ext uri="{FF2B5EF4-FFF2-40B4-BE49-F238E27FC236}">
                    <a16:creationId xmlns="" xmlns:a16="http://schemas.microsoft.com/office/drawing/2014/main" id="{C9EA34F2-8413-45DD-9BEB-6721A0607A3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Oval 173">
                <a:extLst>
                  <a:ext uri="{FF2B5EF4-FFF2-40B4-BE49-F238E27FC236}">
                    <a16:creationId xmlns="" xmlns:a16="http://schemas.microsoft.com/office/drawing/2014/main" id="{BC699E6A-F376-496E-A473-BFA2EDFD2C52}"/>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Oval 174">
                <a:extLst>
                  <a:ext uri="{FF2B5EF4-FFF2-40B4-BE49-F238E27FC236}">
                    <a16:creationId xmlns="" xmlns:a16="http://schemas.microsoft.com/office/drawing/2014/main" id="{B775EE77-4331-4300-9950-3C56C64D87A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 xmlns:a16="http://schemas.microsoft.com/office/drawing/2014/main" id="{C4A03368-58BB-4D4A-94D8-39C4E5D9C8E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 xmlns:a16="http://schemas.microsoft.com/office/drawing/2014/main" id="{58FFF12A-C9F4-402C-9848-BC33F625940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 xmlns:a16="http://schemas.microsoft.com/office/drawing/2014/main" id="{D37447ED-8E75-4B63-9F63-1D2FE87442B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 xmlns:a16="http://schemas.microsoft.com/office/drawing/2014/main" id="{35F4C134-D2CC-4C05-BF71-4B0D7CFD9F2C}"/>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7" name="Group 136">
              <a:extLst>
                <a:ext uri="{FF2B5EF4-FFF2-40B4-BE49-F238E27FC236}">
                  <a16:creationId xmlns="" xmlns:a16="http://schemas.microsoft.com/office/drawing/2014/main" id="{C5194267-A20B-46A0-A387-B52E950F9AC5}"/>
                </a:ext>
              </a:extLst>
            </p:cNvPr>
            <p:cNvGrpSpPr/>
            <p:nvPr/>
          </p:nvGrpSpPr>
          <p:grpSpPr>
            <a:xfrm rot="5400000">
              <a:off x="1055270" y="-284344"/>
              <a:ext cx="86591" cy="1729654"/>
              <a:chOff x="85292" y="59892"/>
              <a:chExt cx="86591" cy="1729654"/>
            </a:xfrm>
            <a:grpFill/>
          </p:grpSpPr>
          <p:sp>
            <p:nvSpPr>
              <p:cNvPr id="160" name="Oval 159">
                <a:extLst>
                  <a:ext uri="{FF2B5EF4-FFF2-40B4-BE49-F238E27FC236}">
                    <a16:creationId xmlns="" xmlns:a16="http://schemas.microsoft.com/office/drawing/2014/main" id="{B7DB14D3-21BD-459D-9C64-0E1365C9ABD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Oval 160">
                <a:extLst>
                  <a:ext uri="{FF2B5EF4-FFF2-40B4-BE49-F238E27FC236}">
                    <a16:creationId xmlns="" xmlns:a16="http://schemas.microsoft.com/office/drawing/2014/main" id="{4FBF5261-2A31-430C-AC04-10812F49FA5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Oval 161">
                <a:extLst>
                  <a:ext uri="{FF2B5EF4-FFF2-40B4-BE49-F238E27FC236}">
                    <a16:creationId xmlns="" xmlns:a16="http://schemas.microsoft.com/office/drawing/2014/main" id="{9FA16A2D-28FB-41DE-BAB7-71775174DF1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Oval 162">
                <a:extLst>
                  <a:ext uri="{FF2B5EF4-FFF2-40B4-BE49-F238E27FC236}">
                    <a16:creationId xmlns="" xmlns:a16="http://schemas.microsoft.com/office/drawing/2014/main" id="{6303D510-B18F-4CA3-A94A-795706CF893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Oval 163">
                <a:extLst>
                  <a:ext uri="{FF2B5EF4-FFF2-40B4-BE49-F238E27FC236}">
                    <a16:creationId xmlns="" xmlns:a16="http://schemas.microsoft.com/office/drawing/2014/main" id="{F1C79B2E-71EC-464D-8DB7-459CEDDDD58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Oval 164">
                <a:extLst>
                  <a:ext uri="{FF2B5EF4-FFF2-40B4-BE49-F238E27FC236}">
                    <a16:creationId xmlns="" xmlns:a16="http://schemas.microsoft.com/office/drawing/2014/main" id="{4C12D633-93EB-40AD-8CAE-214CAAC7E31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Oval 165">
                <a:extLst>
                  <a:ext uri="{FF2B5EF4-FFF2-40B4-BE49-F238E27FC236}">
                    <a16:creationId xmlns="" xmlns:a16="http://schemas.microsoft.com/office/drawing/2014/main" id="{D64EFEAF-8662-4F95-8E60-18C21BCD8D1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Oval 166">
                <a:extLst>
                  <a:ext uri="{FF2B5EF4-FFF2-40B4-BE49-F238E27FC236}">
                    <a16:creationId xmlns="" xmlns:a16="http://schemas.microsoft.com/office/drawing/2014/main" id="{CCD9501B-D6C6-481F-B3D1-C22C6099B82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Oval 167">
                <a:extLst>
                  <a:ext uri="{FF2B5EF4-FFF2-40B4-BE49-F238E27FC236}">
                    <a16:creationId xmlns="" xmlns:a16="http://schemas.microsoft.com/office/drawing/2014/main" id="{87C33B58-B6A6-4904-835B-3F014CD8098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Oval 168">
                <a:extLst>
                  <a:ext uri="{FF2B5EF4-FFF2-40B4-BE49-F238E27FC236}">
                    <a16:creationId xmlns="" xmlns:a16="http://schemas.microsoft.com/office/drawing/2014/main" id="{1E181BB5-A304-4163-A860-D5824DC1E96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8" name="Group 137">
              <a:extLst>
                <a:ext uri="{FF2B5EF4-FFF2-40B4-BE49-F238E27FC236}">
                  <a16:creationId xmlns="" xmlns:a16="http://schemas.microsoft.com/office/drawing/2014/main" id="{C666A0C8-90C3-4AE5-AB66-673AA2FD8FD7}"/>
                </a:ext>
              </a:extLst>
            </p:cNvPr>
            <p:cNvGrpSpPr/>
            <p:nvPr/>
          </p:nvGrpSpPr>
          <p:grpSpPr>
            <a:xfrm rot="5400000">
              <a:off x="1055270" y="-30452"/>
              <a:ext cx="86591" cy="1729654"/>
              <a:chOff x="85292" y="59892"/>
              <a:chExt cx="86591" cy="1729654"/>
            </a:xfrm>
            <a:grpFill/>
          </p:grpSpPr>
          <p:sp>
            <p:nvSpPr>
              <p:cNvPr id="150" name="Oval 149">
                <a:extLst>
                  <a:ext uri="{FF2B5EF4-FFF2-40B4-BE49-F238E27FC236}">
                    <a16:creationId xmlns="" xmlns:a16="http://schemas.microsoft.com/office/drawing/2014/main" id="{A0852113-F440-48C1-BACC-32044655ED3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Oval 150">
                <a:extLst>
                  <a:ext uri="{FF2B5EF4-FFF2-40B4-BE49-F238E27FC236}">
                    <a16:creationId xmlns="" xmlns:a16="http://schemas.microsoft.com/office/drawing/2014/main" id="{9474DAE9-8E5E-4D44-B6D3-DF2A03E00F2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Oval 151">
                <a:extLst>
                  <a:ext uri="{FF2B5EF4-FFF2-40B4-BE49-F238E27FC236}">
                    <a16:creationId xmlns="" xmlns:a16="http://schemas.microsoft.com/office/drawing/2014/main" id="{8E0F1E20-18FB-4529-AF64-7B8E700705B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Oval 152">
                <a:extLst>
                  <a:ext uri="{FF2B5EF4-FFF2-40B4-BE49-F238E27FC236}">
                    <a16:creationId xmlns="" xmlns:a16="http://schemas.microsoft.com/office/drawing/2014/main" id="{D0E06559-C5AE-4654-AC9E-25CC2D306A2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Oval 153">
                <a:extLst>
                  <a:ext uri="{FF2B5EF4-FFF2-40B4-BE49-F238E27FC236}">
                    <a16:creationId xmlns="" xmlns:a16="http://schemas.microsoft.com/office/drawing/2014/main" id="{4B224CDD-C016-401C-8884-F5F1C3CFDA8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Oval 154">
                <a:extLst>
                  <a:ext uri="{FF2B5EF4-FFF2-40B4-BE49-F238E27FC236}">
                    <a16:creationId xmlns="" xmlns:a16="http://schemas.microsoft.com/office/drawing/2014/main" id="{4A537160-05BE-4E0A-B558-CDEF372F954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Oval 155">
                <a:extLst>
                  <a:ext uri="{FF2B5EF4-FFF2-40B4-BE49-F238E27FC236}">
                    <a16:creationId xmlns="" xmlns:a16="http://schemas.microsoft.com/office/drawing/2014/main" id="{E4DAE5C0-B672-4B98-AC09-630C6E884B5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Oval 156">
                <a:extLst>
                  <a:ext uri="{FF2B5EF4-FFF2-40B4-BE49-F238E27FC236}">
                    <a16:creationId xmlns="" xmlns:a16="http://schemas.microsoft.com/office/drawing/2014/main" id="{3343B6A1-959F-4F80-B5FF-6BEDDFD720E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Oval 157">
                <a:extLst>
                  <a:ext uri="{FF2B5EF4-FFF2-40B4-BE49-F238E27FC236}">
                    <a16:creationId xmlns="" xmlns:a16="http://schemas.microsoft.com/office/drawing/2014/main" id="{6926F93A-D2BA-45F8-A88E-A4A4AF4CEDE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a:extLst>
                  <a:ext uri="{FF2B5EF4-FFF2-40B4-BE49-F238E27FC236}">
                    <a16:creationId xmlns="" xmlns:a16="http://schemas.microsoft.com/office/drawing/2014/main" id="{4C61F4F3-5C3A-4FCF-BFBB-08D5F4DABD8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9" name="Group 138">
              <a:extLst>
                <a:ext uri="{FF2B5EF4-FFF2-40B4-BE49-F238E27FC236}">
                  <a16:creationId xmlns="" xmlns:a16="http://schemas.microsoft.com/office/drawing/2014/main" id="{602B398F-6A9A-4537-8A5A-ABAD452CCC88}"/>
                </a:ext>
              </a:extLst>
            </p:cNvPr>
            <p:cNvGrpSpPr/>
            <p:nvPr/>
          </p:nvGrpSpPr>
          <p:grpSpPr>
            <a:xfrm rot="5400000">
              <a:off x="1055270" y="223441"/>
              <a:ext cx="86591" cy="1729654"/>
              <a:chOff x="85292" y="59892"/>
              <a:chExt cx="86591" cy="1729654"/>
            </a:xfrm>
            <a:grpFill/>
          </p:grpSpPr>
          <p:sp>
            <p:nvSpPr>
              <p:cNvPr id="140" name="Oval 139">
                <a:extLst>
                  <a:ext uri="{FF2B5EF4-FFF2-40B4-BE49-F238E27FC236}">
                    <a16:creationId xmlns="" xmlns:a16="http://schemas.microsoft.com/office/drawing/2014/main" id="{B6315008-829B-4456-8C70-C0C92FA9397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a:extLst>
                  <a:ext uri="{FF2B5EF4-FFF2-40B4-BE49-F238E27FC236}">
                    <a16:creationId xmlns="" xmlns:a16="http://schemas.microsoft.com/office/drawing/2014/main" id="{81C9520D-31BA-4C4E-928B-5D745854F2F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Oval 141">
                <a:extLst>
                  <a:ext uri="{FF2B5EF4-FFF2-40B4-BE49-F238E27FC236}">
                    <a16:creationId xmlns="" xmlns:a16="http://schemas.microsoft.com/office/drawing/2014/main" id="{9CDD773E-2901-4128-A2EB-1DE988ABA9F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Oval 142">
                <a:extLst>
                  <a:ext uri="{FF2B5EF4-FFF2-40B4-BE49-F238E27FC236}">
                    <a16:creationId xmlns="" xmlns:a16="http://schemas.microsoft.com/office/drawing/2014/main" id="{672561CD-8371-4BAA-949D-45F7CE21717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val 143">
                <a:extLst>
                  <a:ext uri="{FF2B5EF4-FFF2-40B4-BE49-F238E27FC236}">
                    <a16:creationId xmlns="" xmlns:a16="http://schemas.microsoft.com/office/drawing/2014/main" id="{E92666E2-D47E-46A2-BA26-1DB275D6F39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a:extLst>
                  <a:ext uri="{FF2B5EF4-FFF2-40B4-BE49-F238E27FC236}">
                    <a16:creationId xmlns="" xmlns:a16="http://schemas.microsoft.com/office/drawing/2014/main" id="{B4376473-9396-4CF0-A5C4-BFB56CA049D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Oval 145">
                <a:extLst>
                  <a:ext uri="{FF2B5EF4-FFF2-40B4-BE49-F238E27FC236}">
                    <a16:creationId xmlns="" xmlns:a16="http://schemas.microsoft.com/office/drawing/2014/main" id="{0F220628-EF66-4DF5-ABD2-C51E81F1A8D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a:extLst>
                  <a:ext uri="{FF2B5EF4-FFF2-40B4-BE49-F238E27FC236}">
                    <a16:creationId xmlns="" xmlns:a16="http://schemas.microsoft.com/office/drawing/2014/main" id="{563AEB5C-01CF-499E-A735-43F622168FA0}"/>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 xmlns:a16="http://schemas.microsoft.com/office/drawing/2014/main" id="{2AA6AE08-C2E9-4229-A95C-B3B78C3BE79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a:extLst>
                  <a:ext uri="{FF2B5EF4-FFF2-40B4-BE49-F238E27FC236}">
                    <a16:creationId xmlns="" xmlns:a16="http://schemas.microsoft.com/office/drawing/2014/main" id="{94C4C55B-CDDF-4959-9F23-AD852B0C613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85" name="Group 184"/>
          <p:cNvGrpSpPr/>
          <p:nvPr/>
        </p:nvGrpSpPr>
        <p:grpSpPr>
          <a:xfrm>
            <a:off x="312250" y="327307"/>
            <a:ext cx="4785616" cy="647452"/>
            <a:chOff x="319878" y="3998260"/>
            <a:chExt cx="4785616" cy="647452"/>
          </a:xfrm>
        </p:grpSpPr>
        <p:sp>
          <p:nvSpPr>
            <p:cNvPr id="186" name="Rectangle 185">
              <a:extLst>
                <a:ext uri="{FF2B5EF4-FFF2-40B4-BE49-F238E27FC236}">
                  <a16:creationId xmlns="" xmlns:a16="http://schemas.microsoft.com/office/drawing/2014/main" id="{741F1DEF-32DD-40D0-B63D-396863A5080A}"/>
                </a:ext>
              </a:extLst>
            </p:cNvPr>
            <p:cNvSpPr/>
            <p:nvPr/>
          </p:nvSpPr>
          <p:spPr>
            <a:xfrm>
              <a:off x="319878" y="4021527"/>
              <a:ext cx="4422107" cy="442804"/>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Title 1"/>
            <p:cNvSpPr txBox="1">
              <a:spLocks/>
            </p:cNvSpPr>
            <p:nvPr/>
          </p:nvSpPr>
          <p:spPr>
            <a:xfrm>
              <a:off x="319879" y="3998260"/>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en-US" sz="3200" dirty="0" err="1" smtClean="0"/>
                <a:t>Identifikasi</a:t>
              </a:r>
              <a:r>
                <a:rPr lang="en-US" sz="3200" dirty="0" smtClean="0"/>
                <a:t> </a:t>
              </a:r>
              <a:r>
                <a:rPr lang="en-US" sz="3200" dirty="0" err="1" smtClean="0"/>
                <a:t>masalah</a:t>
              </a:r>
              <a:endParaRPr lang="en-US" sz="3200" dirty="0"/>
            </a:p>
          </p:txBody>
        </p:sp>
      </p:grpSp>
      <p:sp>
        <p:nvSpPr>
          <p:cNvPr id="192" name="Title 1"/>
          <p:cNvSpPr txBox="1">
            <a:spLocks/>
          </p:cNvSpPr>
          <p:nvPr/>
        </p:nvSpPr>
        <p:spPr>
          <a:xfrm>
            <a:off x="304022" y="955332"/>
            <a:ext cx="11541614" cy="1316814"/>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algn="just"/>
            <a:r>
              <a:rPr lang="id-ID" sz="2800" b="0" dirty="0" smtClean="0">
                <a:latin typeface="Segoe UI Historic" pitchFamily="34" charset="0"/>
                <a:ea typeface="Segoe UI Historic" pitchFamily="34" charset="0"/>
                <a:cs typeface="Segoe UI Historic" pitchFamily="34" charset="0"/>
              </a:rPr>
              <a:t>Berdasarkan uraian latar belakang permasalahan diatas, maka dapat dirumuskan permasalahan yang ada, yaitu bagaimana merancang Sistem Informasi Penjualan Cafe Berbasis Website.</a:t>
            </a:r>
            <a:endParaRPr lang="en-US" sz="2800" b="0" dirty="0">
              <a:latin typeface="Segoe UI Historic" pitchFamily="34" charset="0"/>
              <a:ea typeface="Segoe UI Historic" pitchFamily="34" charset="0"/>
              <a:cs typeface="Segoe UI Historic" pitchFamily="34" charset="0"/>
            </a:endParaRPr>
          </a:p>
        </p:txBody>
      </p:sp>
      <p:grpSp>
        <p:nvGrpSpPr>
          <p:cNvPr id="180" name="Group 179"/>
          <p:cNvGrpSpPr/>
          <p:nvPr/>
        </p:nvGrpSpPr>
        <p:grpSpPr>
          <a:xfrm>
            <a:off x="312244" y="2447117"/>
            <a:ext cx="8956448" cy="647452"/>
            <a:chOff x="319878" y="3998260"/>
            <a:chExt cx="4785616" cy="647452"/>
          </a:xfrm>
        </p:grpSpPr>
        <p:sp>
          <p:nvSpPr>
            <p:cNvPr id="181" name="Rectangle 180">
              <a:extLst>
                <a:ext uri="{FF2B5EF4-FFF2-40B4-BE49-F238E27FC236}">
                  <a16:creationId xmlns="" xmlns:a16="http://schemas.microsoft.com/office/drawing/2014/main" id="{741F1DEF-32DD-40D0-B63D-396863A5080A}"/>
                </a:ext>
              </a:extLst>
            </p:cNvPr>
            <p:cNvSpPr/>
            <p:nvPr/>
          </p:nvSpPr>
          <p:spPr>
            <a:xfrm>
              <a:off x="319878" y="4021527"/>
              <a:ext cx="4422107" cy="442804"/>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Title 1"/>
            <p:cNvSpPr txBox="1">
              <a:spLocks/>
            </p:cNvSpPr>
            <p:nvPr/>
          </p:nvSpPr>
          <p:spPr>
            <a:xfrm>
              <a:off x="319879" y="3998260"/>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en-US" sz="3200" dirty="0" err="1" smtClean="0"/>
                <a:t>Pembatasan</a:t>
              </a:r>
              <a:r>
                <a:rPr lang="en-US" sz="3200" dirty="0" smtClean="0"/>
                <a:t> </a:t>
              </a:r>
              <a:r>
                <a:rPr lang="en-US" sz="3200" dirty="0" err="1" smtClean="0"/>
                <a:t>Masalah</a:t>
              </a:r>
              <a:r>
                <a:rPr lang="en-US" sz="3200" dirty="0" smtClean="0"/>
                <a:t> </a:t>
              </a:r>
              <a:r>
                <a:rPr lang="en-US" sz="3200" dirty="0" err="1" smtClean="0"/>
                <a:t>dan</a:t>
              </a:r>
              <a:r>
                <a:rPr lang="en-US" sz="3200" dirty="0" smtClean="0"/>
                <a:t> </a:t>
              </a:r>
              <a:r>
                <a:rPr lang="en-US" sz="3200" dirty="0" err="1" smtClean="0"/>
                <a:t>Asumsi</a:t>
              </a:r>
              <a:r>
                <a:rPr lang="en-US" sz="3200" dirty="0" smtClean="0"/>
                <a:t> </a:t>
              </a:r>
              <a:r>
                <a:rPr lang="en-US" sz="3200" dirty="0" err="1" smtClean="0"/>
                <a:t>Kasus</a:t>
              </a:r>
              <a:endParaRPr lang="en-US" sz="3200" dirty="0"/>
            </a:p>
          </p:txBody>
        </p:sp>
      </p:grpSp>
      <p:sp>
        <p:nvSpPr>
          <p:cNvPr id="189" name="Title 1"/>
          <p:cNvSpPr txBox="1">
            <a:spLocks/>
          </p:cNvSpPr>
          <p:nvPr/>
        </p:nvSpPr>
        <p:spPr>
          <a:xfrm>
            <a:off x="304882" y="3185973"/>
            <a:ext cx="11541614" cy="3672027"/>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r>
              <a:rPr lang="id-ID" sz="2800" b="0" dirty="0" smtClean="0">
                <a:latin typeface="Segoe UI Historic" pitchFamily="34" charset="0"/>
                <a:ea typeface="Segoe UI Historic" pitchFamily="34" charset="0"/>
                <a:cs typeface="Segoe UI Historic" pitchFamily="34" charset="0"/>
              </a:rPr>
              <a:t>Adapun batasan masalah dalam Sistem Informasi Penjualan Cafe Pada berbasis </a:t>
            </a:r>
            <a:r>
              <a:rPr lang="id-ID" sz="2800" b="0" i="1" dirty="0" smtClean="0">
                <a:latin typeface="Segoe UI Historic" pitchFamily="34" charset="0"/>
                <a:ea typeface="Segoe UI Historic" pitchFamily="34" charset="0"/>
                <a:cs typeface="Segoe UI Historic" pitchFamily="34" charset="0"/>
              </a:rPr>
              <a:t>website </a:t>
            </a:r>
            <a:r>
              <a:rPr lang="id-ID" sz="2800" b="0" dirty="0" smtClean="0">
                <a:latin typeface="Segoe UI Historic" pitchFamily="34" charset="0"/>
                <a:ea typeface="Segoe UI Historic" pitchFamily="34" charset="0"/>
                <a:cs typeface="Segoe UI Historic" pitchFamily="34" charset="0"/>
              </a:rPr>
              <a:t>ini adalah:</a:t>
            </a:r>
            <a:endParaRPr lang="en-US" sz="2800" b="0" dirty="0" smtClean="0">
              <a:latin typeface="Segoe UI Historic" pitchFamily="34" charset="0"/>
              <a:ea typeface="Segoe UI Historic" pitchFamily="34" charset="0"/>
              <a:cs typeface="Segoe UI Historic" pitchFamily="34" charset="0"/>
            </a:endParaRPr>
          </a:p>
          <a:p>
            <a:pPr lvl="2"/>
            <a:r>
              <a:rPr lang="en-US" sz="2800" dirty="0" smtClean="0">
                <a:solidFill>
                  <a:schemeClr val="bg1"/>
                </a:solidFill>
                <a:latin typeface="Segoe UI Historic" pitchFamily="34" charset="0"/>
                <a:ea typeface="Segoe UI Historic" pitchFamily="34" charset="0"/>
                <a:cs typeface="Segoe UI Historic" pitchFamily="34" charset="0"/>
              </a:rPr>
              <a:t>1. </a:t>
            </a:r>
            <a:r>
              <a:rPr lang="en-US" sz="2800" dirty="0" err="1" smtClean="0">
                <a:solidFill>
                  <a:schemeClr val="bg1"/>
                </a:solidFill>
                <a:latin typeface="Segoe UI Historic" pitchFamily="34" charset="0"/>
                <a:ea typeface="Segoe UI Historic" pitchFamily="34" charset="0"/>
                <a:cs typeface="Segoe UI Historic" pitchFamily="34" charset="0"/>
              </a:rPr>
              <a:t>Aplika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in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nggunak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i="1" dirty="0" smtClean="0">
                <a:solidFill>
                  <a:schemeClr val="bg1"/>
                </a:solidFill>
                <a:latin typeface="Segoe UI Historic" pitchFamily="34" charset="0"/>
                <a:ea typeface="Segoe UI Historic" pitchFamily="34" charset="0"/>
                <a:cs typeface="Segoe UI Historic" pitchFamily="34" charset="0"/>
              </a:rPr>
              <a:t>platform </a:t>
            </a:r>
            <a:r>
              <a:rPr lang="en-US" sz="2800" dirty="0" err="1" smtClean="0">
                <a:solidFill>
                  <a:schemeClr val="bg1"/>
                </a:solidFill>
                <a:latin typeface="Segoe UI Historic" pitchFamily="34" charset="0"/>
                <a:ea typeface="Segoe UI Historic" pitchFamily="34" charset="0"/>
                <a:cs typeface="Segoe UI Historic" pitchFamily="34" charset="0"/>
              </a:rPr>
              <a:t>berbasis</a:t>
            </a:r>
            <a:r>
              <a:rPr lang="en-US" sz="2800" dirty="0" smtClean="0">
                <a:solidFill>
                  <a:schemeClr val="bg1"/>
                </a:solidFill>
                <a:latin typeface="Segoe UI Historic" pitchFamily="34" charset="0"/>
                <a:ea typeface="Segoe UI Historic" pitchFamily="34" charset="0"/>
                <a:cs typeface="Segoe UI Historic" pitchFamily="34" charset="0"/>
              </a:rPr>
              <a:t> website.</a:t>
            </a:r>
          </a:p>
          <a:p>
            <a:pPr lvl="2"/>
            <a:r>
              <a:rPr lang="en-US" sz="2800" dirty="0" smtClean="0">
                <a:solidFill>
                  <a:schemeClr val="bg1"/>
                </a:solidFill>
                <a:latin typeface="Segoe UI Historic" pitchFamily="34" charset="0"/>
                <a:ea typeface="Segoe UI Historic" pitchFamily="34" charset="0"/>
                <a:cs typeface="Segoe UI Historic" pitchFamily="34" charset="0"/>
              </a:rPr>
              <a:t>2. </a:t>
            </a:r>
            <a:r>
              <a:rPr lang="en-US" sz="2800" dirty="0" err="1" smtClean="0">
                <a:solidFill>
                  <a:schemeClr val="bg1"/>
                </a:solidFill>
                <a:latin typeface="Segoe UI Historic" pitchFamily="34" charset="0"/>
                <a:ea typeface="Segoe UI Historic" pitchFamily="34" charset="0"/>
                <a:cs typeface="Segoe UI Historic" pitchFamily="34" charset="0"/>
              </a:rPr>
              <a:t>Menggunkan</a:t>
            </a:r>
            <a:r>
              <a:rPr lang="en-US" sz="2800" dirty="0" smtClean="0">
                <a:solidFill>
                  <a:schemeClr val="bg1"/>
                </a:solidFill>
                <a:latin typeface="Segoe UI Historic" pitchFamily="34" charset="0"/>
                <a:ea typeface="Segoe UI Historic" pitchFamily="34" charset="0"/>
                <a:cs typeface="Segoe UI Historic" pitchFamily="34" charset="0"/>
              </a:rPr>
              <a:t> database </a:t>
            </a:r>
            <a:r>
              <a:rPr lang="en-US" sz="2800" dirty="0" err="1" smtClean="0">
                <a:solidFill>
                  <a:schemeClr val="bg1"/>
                </a:solidFill>
                <a:latin typeface="Segoe UI Historic" pitchFamily="34" charset="0"/>
                <a:ea typeface="Segoe UI Historic" pitchFamily="34" charset="0"/>
                <a:cs typeface="Segoe UI Historic" pitchFamily="34" charset="0"/>
              </a:rPr>
              <a:t>MySql</a:t>
            </a:r>
            <a:r>
              <a:rPr lang="en-US" sz="2800" dirty="0" smtClean="0">
                <a:solidFill>
                  <a:schemeClr val="bg1"/>
                </a:solidFill>
                <a:latin typeface="Segoe UI Historic" pitchFamily="34" charset="0"/>
                <a:ea typeface="Segoe UI Historic" pitchFamily="34" charset="0"/>
                <a:cs typeface="Segoe UI Historic" pitchFamily="34" charset="0"/>
              </a:rPr>
              <a:t>.</a:t>
            </a:r>
          </a:p>
          <a:p>
            <a:pPr lvl="2"/>
            <a:r>
              <a:rPr lang="en-US" sz="2800" dirty="0" smtClean="0">
                <a:solidFill>
                  <a:schemeClr val="bg1"/>
                </a:solidFill>
                <a:latin typeface="Segoe UI Historic" pitchFamily="34" charset="0"/>
                <a:ea typeface="Segoe UI Historic" pitchFamily="34" charset="0"/>
                <a:cs typeface="Segoe UI Historic" pitchFamily="34" charset="0"/>
              </a:rPr>
              <a:t>2. </a:t>
            </a:r>
            <a:r>
              <a:rPr lang="en-US" sz="2800" dirty="0" err="1" smtClean="0">
                <a:solidFill>
                  <a:schemeClr val="bg1"/>
                </a:solidFill>
                <a:latin typeface="Segoe UI Historic" pitchFamily="34" charset="0"/>
                <a:ea typeface="Segoe UI Historic" pitchFamily="34" charset="0"/>
                <a:cs typeface="Segoe UI Historic" pitchFamily="34" charset="0"/>
              </a:rPr>
              <a:t>Aplika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in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idak</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nangan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asala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antrian</a:t>
            </a:r>
            <a:r>
              <a:rPr lang="en-US" sz="2800" dirty="0" smtClean="0">
                <a:solidFill>
                  <a:schemeClr val="bg1"/>
                </a:solidFill>
                <a:latin typeface="Segoe UI Historic" pitchFamily="34" charset="0"/>
                <a:ea typeface="Segoe UI Historic" pitchFamily="34" charset="0"/>
                <a:cs typeface="Segoe UI Historic" pitchFamily="34" charset="0"/>
              </a:rPr>
              <a:t>.</a:t>
            </a:r>
          </a:p>
          <a:p>
            <a:r>
              <a:rPr lang="en-US" sz="2800" b="0" dirty="0" smtClean="0">
                <a:latin typeface="Segoe UI Historic" pitchFamily="34" charset="0"/>
                <a:ea typeface="Segoe UI Historic" pitchFamily="34" charset="0"/>
                <a:cs typeface="Segoe UI Historic" pitchFamily="34" charset="0"/>
              </a:rPr>
              <a:t> </a:t>
            </a:r>
          </a:p>
          <a:p>
            <a:r>
              <a:rPr lang="en-US" sz="2800" b="0" dirty="0" err="1" smtClean="0">
                <a:latin typeface="Segoe UI Historic" pitchFamily="34" charset="0"/>
                <a:ea typeface="Segoe UI Historic" pitchFamily="34" charset="0"/>
                <a:cs typeface="Segoe UI Historic" pitchFamily="34" charset="0"/>
              </a:rPr>
              <a:t>Berdasarkan</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perumusan</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dan</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batasan</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masalah</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diatas</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maka</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tujuan</a:t>
            </a:r>
            <a:r>
              <a:rPr lang="en-US" sz="2800" b="0" dirty="0" smtClean="0">
                <a:latin typeface="Segoe UI Historic" pitchFamily="34" charset="0"/>
                <a:ea typeface="Segoe UI Historic" pitchFamily="34" charset="0"/>
                <a:cs typeface="Segoe UI Historic" pitchFamily="34" charset="0"/>
              </a:rPr>
              <a:t> yang </a:t>
            </a:r>
            <a:r>
              <a:rPr lang="en-US" sz="2800" b="0" dirty="0" err="1" smtClean="0">
                <a:latin typeface="Segoe UI Historic" pitchFamily="34" charset="0"/>
                <a:ea typeface="Segoe UI Historic" pitchFamily="34" charset="0"/>
                <a:cs typeface="Segoe UI Historic" pitchFamily="34" charset="0"/>
              </a:rPr>
              <a:t>diperoleh</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yaitu</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membuat</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Sistem</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Informasi</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Penjualan</a:t>
            </a:r>
            <a:r>
              <a:rPr lang="en-US" sz="2800" b="0" dirty="0" smtClean="0">
                <a:latin typeface="Segoe UI Historic" pitchFamily="34" charset="0"/>
                <a:ea typeface="Segoe UI Historic" pitchFamily="34" charset="0"/>
                <a:cs typeface="Segoe UI Historic" pitchFamily="34" charset="0"/>
              </a:rPr>
              <a:t> </a:t>
            </a:r>
            <a:r>
              <a:rPr lang="en-US" sz="2800" b="0" dirty="0" err="1" smtClean="0">
                <a:latin typeface="Segoe UI Historic" pitchFamily="34" charset="0"/>
                <a:ea typeface="Segoe UI Historic" pitchFamily="34" charset="0"/>
                <a:cs typeface="Segoe UI Historic" pitchFamily="34" charset="0"/>
              </a:rPr>
              <a:t>Pada</a:t>
            </a:r>
            <a:r>
              <a:rPr lang="en-US" sz="2800" b="0" dirty="0" smtClean="0">
                <a:latin typeface="Segoe UI Historic" pitchFamily="34" charset="0"/>
                <a:ea typeface="Segoe UI Historic" pitchFamily="34" charset="0"/>
                <a:cs typeface="Segoe UI Historic" pitchFamily="34" charset="0"/>
              </a:rPr>
              <a:t> Cafe</a:t>
            </a:r>
            <a:endParaRPr lang="en-US" sz="2800" b="0" dirty="0">
              <a:latin typeface="Segoe UI Historic" pitchFamily="34" charset="0"/>
              <a:ea typeface="Segoe UI Historic" pitchFamily="34" charset="0"/>
              <a:cs typeface="Segoe UI Historic" pitchFamily="34" charset="0"/>
            </a:endParaRPr>
          </a:p>
        </p:txBody>
      </p:sp>
    </p:spTree>
    <p:extLst>
      <p:ext uri="{BB962C8B-B14F-4D97-AF65-F5344CB8AC3E}">
        <p14:creationId xmlns="" xmlns:p14="http://schemas.microsoft.com/office/powerpoint/2010/main" val="10627414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442F45E7-7E3D-4589-9049-07B218C059A3}"/>
              </a:ext>
            </a:extLst>
          </p:cNvPr>
          <p:cNvPicPr>
            <a:picLocks noChangeAspect="1"/>
          </p:cNvPicPr>
          <p:nvPr/>
        </p:nvPicPr>
        <p:blipFill rotWithShape="1">
          <a:blip r:embed="rId3">
            <a:extLst>
              <a:ext uri="{BEBA8EAE-BF5A-486C-A8C5-ECC9F3942E4B}">
                <a14:imgProps xmlns="" xmlns:a14="http://schemas.microsoft.com/office/drawing/2010/main">
                  <a14:imgLayer r:embed="rId4">
                    <a14:imgEffect>
                      <a14:saturation sat="0"/>
                    </a14:imgEffect>
                  </a14:imgLayer>
                </a14:imgProps>
              </a:ext>
              <a:ext uri="{28A0092B-C50C-407E-A947-70E740481C1C}">
                <a14:useLocalDpi xmlns="" xmlns:a14="http://schemas.microsoft.com/office/drawing/2010/main" val="0"/>
              </a:ext>
            </a:extLst>
          </a:blip>
          <a:srcRect t="6117" b="9177"/>
          <a:stretch/>
        </p:blipFill>
        <p:spPr>
          <a:xfrm>
            <a:off x="0" y="0"/>
            <a:ext cx="12192000" cy="6858000"/>
          </a:xfrm>
          <a:prstGeom prst="rect">
            <a:avLst/>
          </a:prstGeom>
        </p:spPr>
      </p:pic>
      <p:sp>
        <p:nvSpPr>
          <p:cNvPr id="3" name="Rectangle 2">
            <a:extLst>
              <a:ext uri="{FF2B5EF4-FFF2-40B4-BE49-F238E27FC236}">
                <a16:creationId xmlns="" xmlns:a16="http://schemas.microsoft.com/office/drawing/2014/main" id="{16C990B1-4642-4784-8516-7A2BDEC39513}"/>
              </a:ext>
            </a:extLst>
          </p:cNvPr>
          <p:cNvSpPr/>
          <p:nvPr/>
        </p:nvSpPr>
        <p:spPr>
          <a:xfrm>
            <a:off x="0" y="0"/>
            <a:ext cx="12192000" cy="6858000"/>
          </a:xfrm>
          <a:prstGeom prst="rect">
            <a:avLst/>
          </a:prstGeom>
          <a:gradFill flip="none" rotWithShape="1">
            <a:gsLst>
              <a:gs pos="0">
                <a:schemeClr val="tx1">
                  <a:alpha val="95000"/>
                </a:schemeClr>
              </a:gs>
              <a:gs pos="100000">
                <a:schemeClr val="tx1">
                  <a:alpha val="95000"/>
                </a:schemeClr>
              </a:gs>
              <a:gs pos="49000">
                <a:schemeClr val="tx1">
                  <a:alpha val="8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 xmlns:a16="http://schemas.microsoft.com/office/drawing/2014/main" id="{D559B658-F1DD-4235-A315-5FA31630973F}"/>
              </a:ext>
            </a:extLst>
          </p:cNvPr>
          <p:cNvSpPr/>
          <p:nvPr/>
        </p:nvSpPr>
        <p:spPr>
          <a:xfrm>
            <a:off x="8648700" y="5524500"/>
            <a:ext cx="3543300" cy="1047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 xmlns:a16="http://schemas.microsoft.com/office/drawing/2014/main" id="{741F1DEF-32DD-40D0-B63D-396863A5080A}"/>
              </a:ext>
            </a:extLst>
          </p:cNvPr>
          <p:cNvSpPr/>
          <p:nvPr/>
        </p:nvSpPr>
        <p:spPr>
          <a:xfrm>
            <a:off x="8243586" y="5723090"/>
            <a:ext cx="3543300" cy="650570"/>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 xmlns:a16="http://schemas.microsoft.com/office/drawing/2014/main" id="{B5DE0E6C-D4E2-46CE-95B9-CFEF563B5642}"/>
              </a:ext>
            </a:extLst>
          </p:cNvPr>
          <p:cNvSpPr/>
          <p:nvPr/>
        </p:nvSpPr>
        <p:spPr>
          <a:xfrm>
            <a:off x="-1536702" y="-1549402"/>
            <a:ext cx="3829958" cy="3829958"/>
          </a:xfrm>
          <a:custGeom>
            <a:avLst/>
            <a:gdLst>
              <a:gd name="connsiteX0" fmla="*/ 1914979 w 3829958"/>
              <a:gd name="connsiteY0" fmla="*/ 0 h 3829958"/>
              <a:gd name="connsiteX1" fmla="*/ 3829958 w 3829958"/>
              <a:gd name="connsiteY1" fmla="*/ 1914979 h 3829958"/>
              <a:gd name="connsiteX2" fmla="*/ 3743864 w 3829958"/>
              <a:gd name="connsiteY2" fmla="*/ 2484435 h 3829958"/>
              <a:gd name="connsiteX3" fmla="*/ 3736535 w 3829958"/>
              <a:gd name="connsiteY3" fmla="*/ 2504461 h 3829958"/>
              <a:gd name="connsiteX4" fmla="*/ 3691901 w 3829958"/>
              <a:gd name="connsiteY4" fmla="*/ 2490606 h 3829958"/>
              <a:gd name="connsiteX5" fmla="*/ 3555553 w 3829958"/>
              <a:gd name="connsiteY5" fmla="*/ 2476861 h 3829958"/>
              <a:gd name="connsiteX6" fmla="*/ 2879005 w 3829958"/>
              <a:gd name="connsiteY6" fmla="*/ 3153409 h 3829958"/>
              <a:gd name="connsiteX7" fmla="*/ 2932172 w 3829958"/>
              <a:gd name="connsiteY7" fmla="*/ 3416752 h 3829958"/>
              <a:gd name="connsiteX8" fmla="*/ 2980604 w 3829958"/>
              <a:gd name="connsiteY8" fmla="*/ 3505983 h 3829958"/>
              <a:gd name="connsiteX9" fmla="*/ 2827772 w 3829958"/>
              <a:gd name="connsiteY9" fmla="*/ 3598830 h 3829958"/>
              <a:gd name="connsiteX10" fmla="*/ 1914979 w 3829958"/>
              <a:gd name="connsiteY10" fmla="*/ 3829958 h 3829958"/>
              <a:gd name="connsiteX11" fmla="*/ 0 w 3829958"/>
              <a:gd name="connsiteY11" fmla="*/ 1914979 h 3829958"/>
              <a:gd name="connsiteX12" fmla="*/ 1914979 w 3829958"/>
              <a:gd name="connsiteY12" fmla="*/ 0 h 38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9958" h="3829958">
                <a:moveTo>
                  <a:pt x="1914979" y="0"/>
                </a:moveTo>
                <a:cubicBezTo>
                  <a:pt x="2972593" y="0"/>
                  <a:pt x="3829958" y="857365"/>
                  <a:pt x="3829958" y="1914979"/>
                </a:cubicBezTo>
                <a:cubicBezTo>
                  <a:pt x="3829958" y="2113282"/>
                  <a:pt x="3799816" y="2304544"/>
                  <a:pt x="3743864" y="2484435"/>
                </a:cubicBezTo>
                <a:lnTo>
                  <a:pt x="3736535" y="2504461"/>
                </a:lnTo>
                <a:lnTo>
                  <a:pt x="3691901" y="2490606"/>
                </a:lnTo>
                <a:cubicBezTo>
                  <a:pt x="3647859" y="2481594"/>
                  <a:pt x="3602259" y="2476861"/>
                  <a:pt x="3555553" y="2476861"/>
                </a:cubicBezTo>
                <a:cubicBezTo>
                  <a:pt x="3181906" y="2476861"/>
                  <a:pt x="2879005" y="2779762"/>
                  <a:pt x="2879005" y="3153409"/>
                </a:cubicBezTo>
                <a:cubicBezTo>
                  <a:pt x="2879005" y="3246821"/>
                  <a:pt x="2897936" y="3335811"/>
                  <a:pt x="2932172" y="3416752"/>
                </a:cubicBezTo>
                <a:lnTo>
                  <a:pt x="2980604" y="3505983"/>
                </a:lnTo>
                <a:lnTo>
                  <a:pt x="2827772" y="3598830"/>
                </a:lnTo>
                <a:cubicBezTo>
                  <a:pt x="2556432" y="3746231"/>
                  <a:pt x="2245483" y="3829958"/>
                  <a:pt x="1914979" y="3829958"/>
                </a:cubicBezTo>
                <a:cubicBezTo>
                  <a:pt x="857365" y="3829958"/>
                  <a:pt x="0" y="2972593"/>
                  <a:pt x="0" y="1914979"/>
                </a:cubicBezTo>
                <a:cubicBezTo>
                  <a:pt x="0" y="857365"/>
                  <a:pt x="857365" y="0"/>
                  <a:pt x="1914979" y="0"/>
                </a:cubicBezTo>
                <a:close/>
              </a:path>
            </a:pathLst>
          </a:custGeom>
          <a:pattFill prst="dkUpDiag">
            <a:fgClr>
              <a:schemeClr val="accent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Oval 6">
            <a:extLst>
              <a:ext uri="{FF2B5EF4-FFF2-40B4-BE49-F238E27FC236}">
                <a16:creationId xmlns="" xmlns:a16="http://schemas.microsoft.com/office/drawing/2014/main" id="{B3693BA1-2B08-47EB-AEAD-0DFA8395B271}"/>
              </a:ext>
            </a:extLst>
          </p:cNvPr>
          <p:cNvSpPr/>
          <p:nvPr/>
        </p:nvSpPr>
        <p:spPr>
          <a:xfrm>
            <a:off x="-1938848" y="-1951547"/>
            <a:ext cx="4634248" cy="4634248"/>
          </a:xfrm>
          <a:prstGeom prst="ellipse">
            <a:avLst/>
          </a:prstGeom>
          <a:noFill/>
          <a:ln w="19050">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 xmlns:a16="http://schemas.microsoft.com/office/drawing/2014/main" id="{1B622297-A54D-4617-9EBC-CF6D576C5224}"/>
              </a:ext>
            </a:extLst>
          </p:cNvPr>
          <p:cNvSpPr/>
          <p:nvPr/>
        </p:nvSpPr>
        <p:spPr>
          <a:xfrm>
            <a:off x="1556761" y="1141917"/>
            <a:ext cx="924183" cy="92418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 xmlns:a16="http://schemas.microsoft.com/office/drawing/2014/main" id="{D80318C4-BCDD-4311-A18F-9265B87A270B}"/>
              </a:ext>
            </a:extLst>
          </p:cNvPr>
          <p:cNvSpPr/>
          <p:nvPr/>
        </p:nvSpPr>
        <p:spPr>
          <a:xfrm rot="10800000">
            <a:off x="8445500" y="5617650"/>
            <a:ext cx="1041400" cy="2108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 xmlns:a16="http://schemas.microsoft.com/office/drawing/2014/main" id="{F698AE66-5967-4786-9D8F-1A725F6FC702}"/>
              </a:ext>
            </a:extLst>
          </p:cNvPr>
          <p:cNvGrpSpPr/>
          <p:nvPr/>
        </p:nvGrpSpPr>
        <p:grpSpPr>
          <a:xfrm>
            <a:off x="10420350" y="285750"/>
            <a:ext cx="804758" cy="144689"/>
            <a:chOff x="4455886" y="479425"/>
            <a:chExt cx="804758" cy="144689"/>
          </a:xfrm>
        </p:grpSpPr>
        <p:cxnSp>
          <p:nvCxnSpPr>
            <p:cNvPr id="15" name="Straight Connector 14">
              <a:extLst>
                <a:ext uri="{FF2B5EF4-FFF2-40B4-BE49-F238E27FC236}">
                  <a16:creationId xmlns="" xmlns:a16="http://schemas.microsoft.com/office/drawing/2014/main" id="{8F1A76E1-D6D8-4852-85B9-7FDD5ABBF3BB}"/>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 xmlns:a16="http://schemas.microsoft.com/office/drawing/2014/main" id="{447E7E72-EC7D-477B-8049-BBFC86FEFF13}"/>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 xmlns:a16="http://schemas.microsoft.com/office/drawing/2014/main" id="{4BAB7941-03C6-4F12-9E04-9077539D8580}"/>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2949FD28-7095-45B9-A159-1411E0D082CF}"/>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E94CE044-D8F7-478D-AC0F-4B7B7EC81420}"/>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B4DFADAC-57F4-4EB2-9CF7-1020DEA1EB0C}"/>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24" name="Straight Connector 23">
            <a:extLst>
              <a:ext uri="{FF2B5EF4-FFF2-40B4-BE49-F238E27FC236}">
                <a16:creationId xmlns="" xmlns:a16="http://schemas.microsoft.com/office/drawing/2014/main" id="{B0A8832C-24F7-4903-86A4-6AE9F1C8E555}"/>
              </a:ext>
            </a:extLst>
          </p:cNvPr>
          <p:cNvCxnSpPr>
            <a:cxnSpLocks/>
          </p:cNvCxnSpPr>
          <p:nvPr/>
        </p:nvCxnSpPr>
        <p:spPr>
          <a:xfrm flipH="1">
            <a:off x="11201400" y="358094"/>
            <a:ext cx="98107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 xmlns:a16="http://schemas.microsoft.com/office/drawing/2014/main" id="{1C96E1AB-AAFA-4C31-A014-04B75B16B1D9}"/>
              </a:ext>
            </a:extLst>
          </p:cNvPr>
          <p:cNvCxnSpPr>
            <a:cxnSpLocks/>
          </p:cNvCxnSpPr>
          <p:nvPr/>
        </p:nvCxnSpPr>
        <p:spPr>
          <a:xfrm>
            <a:off x="895816" y="2627086"/>
            <a:ext cx="0" cy="4211864"/>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AD8E0974-BC24-4BA5-97A3-EC9ED8F4A343}"/>
              </a:ext>
            </a:extLst>
          </p:cNvPr>
          <p:cNvCxnSpPr>
            <a:cxnSpLocks/>
          </p:cNvCxnSpPr>
          <p:nvPr/>
        </p:nvCxnSpPr>
        <p:spPr>
          <a:xfrm>
            <a:off x="529166" y="4838700"/>
            <a:ext cx="0" cy="200025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2C026667-799F-4EB6-B96F-4D9051F3C6F9}"/>
              </a:ext>
            </a:extLst>
          </p:cNvPr>
          <p:cNvCxnSpPr>
            <a:cxnSpLocks/>
          </p:cNvCxnSpPr>
          <p:nvPr/>
        </p:nvCxnSpPr>
        <p:spPr>
          <a:xfrm>
            <a:off x="232283" y="6248400"/>
            <a:ext cx="0" cy="59055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 xmlns:a16="http://schemas.microsoft.com/office/drawing/2014/main" id="{C476F0D7-F33E-4A33-9A25-D15E7B57E91D}"/>
              </a:ext>
            </a:extLst>
          </p:cNvPr>
          <p:cNvGrpSpPr/>
          <p:nvPr/>
        </p:nvGrpSpPr>
        <p:grpSpPr>
          <a:xfrm>
            <a:off x="2563916" y="358094"/>
            <a:ext cx="1729654" cy="848268"/>
            <a:chOff x="233739" y="283295"/>
            <a:chExt cx="1729654" cy="848268"/>
          </a:xfrm>
          <a:gradFill>
            <a:gsLst>
              <a:gs pos="0">
                <a:schemeClr val="accent3"/>
              </a:gs>
              <a:gs pos="100000">
                <a:schemeClr val="tx1">
                  <a:alpha val="0"/>
                </a:schemeClr>
              </a:gs>
            </a:gsLst>
            <a:lin ang="0" scaled="1"/>
          </a:gradFill>
        </p:grpSpPr>
        <p:grpSp>
          <p:nvGrpSpPr>
            <p:cNvPr id="34" name="Group 33">
              <a:extLst>
                <a:ext uri="{FF2B5EF4-FFF2-40B4-BE49-F238E27FC236}">
                  <a16:creationId xmlns="" xmlns:a16="http://schemas.microsoft.com/office/drawing/2014/main" id="{75D90828-5100-410A-8A8E-4687D38638FA}"/>
                </a:ext>
              </a:extLst>
            </p:cNvPr>
            <p:cNvGrpSpPr/>
            <p:nvPr/>
          </p:nvGrpSpPr>
          <p:grpSpPr>
            <a:xfrm rot="5400000">
              <a:off x="1055270" y="-538236"/>
              <a:ext cx="86591" cy="1729654"/>
              <a:chOff x="85292" y="59892"/>
              <a:chExt cx="86591" cy="1729654"/>
            </a:xfrm>
            <a:grpFill/>
          </p:grpSpPr>
          <p:sp>
            <p:nvSpPr>
              <p:cNvPr id="68" name="Oval 67">
                <a:extLst>
                  <a:ext uri="{FF2B5EF4-FFF2-40B4-BE49-F238E27FC236}">
                    <a16:creationId xmlns="" xmlns:a16="http://schemas.microsoft.com/office/drawing/2014/main" id="{81DCCFD7-E0A5-47AD-986F-4F362EFA64B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 xmlns:a16="http://schemas.microsoft.com/office/drawing/2014/main" id="{CFB457A8-22BF-445D-8BE4-A5F0B8F2831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 xmlns:a16="http://schemas.microsoft.com/office/drawing/2014/main" id="{F9CE3CC5-6A7F-4EDF-98E8-87C0423E576A}"/>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 xmlns:a16="http://schemas.microsoft.com/office/drawing/2014/main" id="{BC7124F4-4C3D-4E37-BAE9-9EDED01A0EA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 xmlns:a16="http://schemas.microsoft.com/office/drawing/2014/main" id="{D535BD03-2F0C-4000-88DC-929BE058361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 xmlns:a16="http://schemas.microsoft.com/office/drawing/2014/main" id="{E3252F64-CB94-446A-9777-533DA0DFB36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 xmlns:a16="http://schemas.microsoft.com/office/drawing/2014/main" id="{EBA391DC-019F-4A84-880F-EE19B975D24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 xmlns:a16="http://schemas.microsoft.com/office/drawing/2014/main" id="{B1664578-5E45-4F3B-87FF-5CACEC9B8DFA}"/>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 xmlns:a16="http://schemas.microsoft.com/office/drawing/2014/main" id="{E03CCC18-FFEA-4FB8-9EFD-6C14B821CC8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 xmlns:a16="http://schemas.microsoft.com/office/drawing/2014/main" id="{69A5247D-C922-46D3-8D5E-C5BA40B504A7}"/>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 name="Group 34">
              <a:extLst>
                <a:ext uri="{FF2B5EF4-FFF2-40B4-BE49-F238E27FC236}">
                  <a16:creationId xmlns="" xmlns:a16="http://schemas.microsoft.com/office/drawing/2014/main" id="{2163A3C6-F6A5-4A7C-9540-CE170FFD1C11}"/>
                </a:ext>
              </a:extLst>
            </p:cNvPr>
            <p:cNvGrpSpPr/>
            <p:nvPr/>
          </p:nvGrpSpPr>
          <p:grpSpPr>
            <a:xfrm rot="5400000">
              <a:off x="1055270" y="-284344"/>
              <a:ext cx="86591" cy="1729654"/>
              <a:chOff x="85292" y="59892"/>
              <a:chExt cx="86591" cy="1729654"/>
            </a:xfrm>
            <a:grpFill/>
          </p:grpSpPr>
          <p:sp>
            <p:nvSpPr>
              <p:cNvPr id="58" name="Oval 57">
                <a:extLst>
                  <a:ext uri="{FF2B5EF4-FFF2-40B4-BE49-F238E27FC236}">
                    <a16:creationId xmlns="" xmlns:a16="http://schemas.microsoft.com/office/drawing/2014/main" id="{A38A5E62-0408-4617-838D-0C50A772158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 xmlns:a16="http://schemas.microsoft.com/office/drawing/2014/main" id="{6D471D9B-B1A8-4A13-B904-D1F99AE2A05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 xmlns:a16="http://schemas.microsoft.com/office/drawing/2014/main" id="{59015498-9B56-4E63-A85E-C9F3BC12C5F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 xmlns:a16="http://schemas.microsoft.com/office/drawing/2014/main" id="{072DCEF1-0785-4B65-AE1F-56F85C2FF31B}"/>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 xmlns:a16="http://schemas.microsoft.com/office/drawing/2014/main" id="{FF75C609-B566-4B1B-9ADD-14310F3129D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 xmlns:a16="http://schemas.microsoft.com/office/drawing/2014/main" id="{3EB0BFA9-3F87-437F-A039-56CC4103766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 xmlns:a16="http://schemas.microsoft.com/office/drawing/2014/main" id="{976DEC39-9D0A-44FB-9A62-C28F18F749C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 xmlns:a16="http://schemas.microsoft.com/office/drawing/2014/main" id="{670AA069-8264-4C03-B5A9-69BC6E2AFA1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 xmlns:a16="http://schemas.microsoft.com/office/drawing/2014/main" id="{DEB57F6E-1D9B-4351-8C01-E6CF70C574FE}"/>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 xmlns:a16="http://schemas.microsoft.com/office/drawing/2014/main" id="{4DC638D5-8901-4644-ABD5-35D803D1D60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 name="Group 35">
              <a:extLst>
                <a:ext uri="{FF2B5EF4-FFF2-40B4-BE49-F238E27FC236}">
                  <a16:creationId xmlns="" xmlns:a16="http://schemas.microsoft.com/office/drawing/2014/main" id="{E0884EA3-8932-4332-B434-E341678CD491}"/>
                </a:ext>
              </a:extLst>
            </p:cNvPr>
            <p:cNvGrpSpPr/>
            <p:nvPr/>
          </p:nvGrpSpPr>
          <p:grpSpPr>
            <a:xfrm rot="5400000">
              <a:off x="1055270" y="-30452"/>
              <a:ext cx="86591" cy="1729654"/>
              <a:chOff x="85292" y="59892"/>
              <a:chExt cx="86591" cy="1729654"/>
            </a:xfrm>
            <a:grpFill/>
          </p:grpSpPr>
          <p:sp>
            <p:nvSpPr>
              <p:cNvPr id="48" name="Oval 47">
                <a:extLst>
                  <a:ext uri="{FF2B5EF4-FFF2-40B4-BE49-F238E27FC236}">
                    <a16:creationId xmlns="" xmlns:a16="http://schemas.microsoft.com/office/drawing/2014/main" id="{5F088E95-F67A-4E2A-96CD-096E878B239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 xmlns:a16="http://schemas.microsoft.com/office/drawing/2014/main" id="{7BF7EA06-3AB5-4176-BCF5-EA49597E187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 xmlns:a16="http://schemas.microsoft.com/office/drawing/2014/main" id="{0303BAB0-F36E-4FFC-8AC9-E888B036E05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 xmlns:a16="http://schemas.microsoft.com/office/drawing/2014/main" id="{BDCEEE51-8A01-450A-BBB6-2EE82FAD25C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 xmlns:a16="http://schemas.microsoft.com/office/drawing/2014/main" id="{AF7E0978-36BC-4FFC-BC62-78004EC6545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 xmlns:a16="http://schemas.microsoft.com/office/drawing/2014/main" id="{26E88A2D-E06A-4B31-897A-F29D5BCA605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 xmlns:a16="http://schemas.microsoft.com/office/drawing/2014/main" id="{CABE59FC-4023-4E7D-8847-A16CB70E1FF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 xmlns:a16="http://schemas.microsoft.com/office/drawing/2014/main" id="{CC430C89-D3C1-4F61-A6C8-16EF6447095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 xmlns:a16="http://schemas.microsoft.com/office/drawing/2014/main" id="{54358A37-A5A9-4A84-B2DD-B5FB8BE394E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 xmlns:a16="http://schemas.microsoft.com/office/drawing/2014/main" id="{E11FDEA4-5CF8-46B6-B19D-5C4AE81BF77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 name="Group 36">
              <a:extLst>
                <a:ext uri="{FF2B5EF4-FFF2-40B4-BE49-F238E27FC236}">
                  <a16:creationId xmlns="" xmlns:a16="http://schemas.microsoft.com/office/drawing/2014/main" id="{D4429CDA-BCA9-4826-A6E2-7306FC4012FB}"/>
                </a:ext>
              </a:extLst>
            </p:cNvPr>
            <p:cNvGrpSpPr/>
            <p:nvPr/>
          </p:nvGrpSpPr>
          <p:grpSpPr>
            <a:xfrm rot="5400000">
              <a:off x="1055270" y="223441"/>
              <a:ext cx="86591" cy="1729654"/>
              <a:chOff x="85292" y="59892"/>
              <a:chExt cx="86591" cy="1729654"/>
            </a:xfrm>
            <a:grpFill/>
          </p:grpSpPr>
          <p:sp>
            <p:nvSpPr>
              <p:cNvPr id="38" name="Oval 37">
                <a:extLst>
                  <a:ext uri="{FF2B5EF4-FFF2-40B4-BE49-F238E27FC236}">
                    <a16:creationId xmlns="" xmlns:a16="http://schemas.microsoft.com/office/drawing/2014/main" id="{E4547F50-1583-4489-88DA-074C4B15BE5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 xmlns:a16="http://schemas.microsoft.com/office/drawing/2014/main" id="{6D963E37-01FA-483F-97B8-283894A5173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 xmlns:a16="http://schemas.microsoft.com/office/drawing/2014/main" id="{FB26921C-9545-4AC1-A39D-97CC01AA7DE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 xmlns:a16="http://schemas.microsoft.com/office/drawing/2014/main" id="{C7F50F07-F94F-4240-B23B-19737864FC3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 xmlns:a16="http://schemas.microsoft.com/office/drawing/2014/main" id="{63E80846-CB79-4D2B-89D5-4FE39182BD6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 xmlns:a16="http://schemas.microsoft.com/office/drawing/2014/main" id="{37088A44-5D33-4105-8791-905E8F2ED16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 xmlns:a16="http://schemas.microsoft.com/office/drawing/2014/main" id="{4309E6E7-66E4-43A5-AF5B-98CCB5A6D21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 xmlns:a16="http://schemas.microsoft.com/office/drawing/2014/main" id="{50032B6A-F2E9-4056-9271-31D8BF23E44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 xmlns:a16="http://schemas.microsoft.com/office/drawing/2014/main" id="{F62B9C11-1F77-44B5-899A-12FC9D4A323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 xmlns:a16="http://schemas.microsoft.com/office/drawing/2014/main" id="{AA822719-F362-49F2-BF1A-E07F246EFBD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78" name="Group 77">
            <a:extLst>
              <a:ext uri="{FF2B5EF4-FFF2-40B4-BE49-F238E27FC236}">
                <a16:creationId xmlns="" xmlns:a16="http://schemas.microsoft.com/office/drawing/2014/main" id="{C13D135F-54DE-4187-AC61-D78180B82C45}"/>
              </a:ext>
            </a:extLst>
          </p:cNvPr>
          <p:cNvGrpSpPr/>
          <p:nvPr/>
        </p:nvGrpSpPr>
        <p:grpSpPr>
          <a:xfrm>
            <a:off x="10260116" y="5025344"/>
            <a:ext cx="1729654" cy="848268"/>
            <a:chOff x="233739" y="283295"/>
            <a:chExt cx="1729654" cy="848268"/>
          </a:xfrm>
          <a:gradFill>
            <a:gsLst>
              <a:gs pos="0">
                <a:schemeClr val="accent3"/>
              </a:gs>
              <a:gs pos="100000">
                <a:schemeClr val="tx1">
                  <a:alpha val="0"/>
                </a:schemeClr>
              </a:gs>
            </a:gsLst>
            <a:lin ang="0" scaled="1"/>
          </a:gradFill>
        </p:grpSpPr>
        <p:grpSp>
          <p:nvGrpSpPr>
            <p:cNvPr id="79" name="Group 78">
              <a:extLst>
                <a:ext uri="{FF2B5EF4-FFF2-40B4-BE49-F238E27FC236}">
                  <a16:creationId xmlns="" xmlns:a16="http://schemas.microsoft.com/office/drawing/2014/main" id="{C8596B4A-332B-4DF9-964B-58055561AB9D}"/>
                </a:ext>
              </a:extLst>
            </p:cNvPr>
            <p:cNvGrpSpPr/>
            <p:nvPr/>
          </p:nvGrpSpPr>
          <p:grpSpPr>
            <a:xfrm rot="5400000">
              <a:off x="1055270" y="-538236"/>
              <a:ext cx="86591" cy="1729654"/>
              <a:chOff x="85292" y="59892"/>
              <a:chExt cx="86591" cy="1729654"/>
            </a:xfrm>
            <a:grpFill/>
          </p:grpSpPr>
          <p:sp>
            <p:nvSpPr>
              <p:cNvPr id="113" name="Oval 112">
                <a:extLst>
                  <a:ext uri="{FF2B5EF4-FFF2-40B4-BE49-F238E27FC236}">
                    <a16:creationId xmlns="" xmlns:a16="http://schemas.microsoft.com/office/drawing/2014/main" id="{7089744E-FA18-468B-AAB3-5708BA336F44}"/>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a:extLst>
                  <a:ext uri="{FF2B5EF4-FFF2-40B4-BE49-F238E27FC236}">
                    <a16:creationId xmlns="" xmlns:a16="http://schemas.microsoft.com/office/drawing/2014/main" id="{0D9E6EAE-84CC-44BE-8470-02AF07EFE40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a:extLst>
                  <a:ext uri="{FF2B5EF4-FFF2-40B4-BE49-F238E27FC236}">
                    <a16:creationId xmlns="" xmlns:a16="http://schemas.microsoft.com/office/drawing/2014/main" id="{6A9A00CF-96C1-4049-BA32-48C7F14190C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Oval 115">
                <a:extLst>
                  <a:ext uri="{FF2B5EF4-FFF2-40B4-BE49-F238E27FC236}">
                    <a16:creationId xmlns="" xmlns:a16="http://schemas.microsoft.com/office/drawing/2014/main" id="{1B205536-8343-4753-8C3C-6EBAD27CB02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 xmlns:a16="http://schemas.microsoft.com/office/drawing/2014/main" id="{FFE1934F-0BA2-4B7F-8C40-2B8A30E23D4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 xmlns:a16="http://schemas.microsoft.com/office/drawing/2014/main" id="{39D6ECF3-87B6-456E-A872-B472FC3E78E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 xmlns:a16="http://schemas.microsoft.com/office/drawing/2014/main" id="{B070C7AC-0E68-48F9-B7A5-C39C9370F9E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 xmlns:a16="http://schemas.microsoft.com/office/drawing/2014/main" id="{CE8DDDFF-8040-4BEA-AE98-38E72EAFA225}"/>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 xmlns:a16="http://schemas.microsoft.com/office/drawing/2014/main" id="{F37BA6A8-B41B-44F7-80B9-DDC6DBBD46FF}"/>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 xmlns:a16="http://schemas.microsoft.com/office/drawing/2014/main" id="{E055EE7C-F064-42A2-8872-9B6A1FE5B1C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0" name="Group 79">
              <a:extLst>
                <a:ext uri="{FF2B5EF4-FFF2-40B4-BE49-F238E27FC236}">
                  <a16:creationId xmlns="" xmlns:a16="http://schemas.microsoft.com/office/drawing/2014/main" id="{EECCF488-A5E3-4BA6-9C2A-9D42966EC4C7}"/>
                </a:ext>
              </a:extLst>
            </p:cNvPr>
            <p:cNvGrpSpPr/>
            <p:nvPr/>
          </p:nvGrpSpPr>
          <p:grpSpPr>
            <a:xfrm rot="5400000">
              <a:off x="1055270" y="-284344"/>
              <a:ext cx="86591" cy="1729654"/>
              <a:chOff x="85292" y="59892"/>
              <a:chExt cx="86591" cy="1729654"/>
            </a:xfrm>
            <a:grpFill/>
          </p:grpSpPr>
          <p:sp>
            <p:nvSpPr>
              <p:cNvPr id="103" name="Oval 102">
                <a:extLst>
                  <a:ext uri="{FF2B5EF4-FFF2-40B4-BE49-F238E27FC236}">
                    <a16:creationId xmlns="" xmlns:a16="http://schemas.microsoft.com/office/drawing/2014/main" id="{0E42244A-7AA6-453D-B12B-F427F4D64F0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 xmlns:a16="http://schemas.microsoft.com/office/drawing/2014/main" id="{4FBC28B3-941C-4E3B-91C4-DAB4186DCBC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 xmlns:a16="http://schemas.microsoft.com/office/drawing/2014/main" id="{D4E23335-3D76-421A-A455-D3E75C21F314}"/>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 xmlns:a16="http://schemas.microsoft.com/office/drawing/2014/main" id="{831EDD80-EEF3-4CB2-B523-52A7633A6C3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 xmlns:a16="http://schemas.microsoft.com/office/drawing/2014/main" id="{15C6C3B7-66FB-4502-AA4A-4494C7079A3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 xmlns:a16="http://schemas.microsoft.com/office/drawing/2014/main" id="{8F610EBE-B34C-4B1C-A526-53B0B548B0C4}"/>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 xmlns:a16="http://schemas.microsoft.com/office/drawing/2014/main" id="{E740292B-3A54-44CB-8030-D451E034C52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 xmlns:a16="http://schemas.microsoft.com/office/drawing/2014/main" id="{D4893017-2A88-4489-BD53-8FA9D91043ED}"/>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Oval 110">
                <a:extLst>
                  <a:ext uri="{FF2B5EF4-FFF2-40B4-BE49-F238E27FC236}">
                    <a16:creationId xmlns="" xmlns:a16="http://schemas.microsoft.com/office/drawing/2014/main" id="{BD55C28F-69B6-4462-B8D2-EF6487547A8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a:extLst>
                  <a:ext uri="{FF2B5EF4-FFF2-40B4-BE49-F238E27FC236}">
                    <a16:creationId xmlns="" xmlns:a16="http://schemas.microsoft.com/office/drawing/2014/main" id="{B1AC7914-4D7B-4804-BB25-98795DFBBE7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1" name="Group 80">
              <a:extLst>
                <a:ext uri="{FF2B5EF4-FFF2-40B4-BE49-F238E27FC236}">
                  <a16:creationId xmlns="" xmlns:a16="http://schemas.microsoft.com/office/drawing/2014/main" id="{AA18B733-BFB7-4FD4-ABDE-08285BB754DD}"/>
                </a:ext>
              </a:extLst>
            </p:cNvPr>
            <p:cNvGrpSpPr/>
            <p:nvPr/>
          </p:nvGrpSpPr>
          <p:grpSpPr>
            <a:xfrm rot="5400000">
              <a:off x="1055270" y="-30452"/>
              <a:ext cx="86591" cy="1729654"/>
              <a:chOff x="85292" y="59892"/>
              <a:chExt cx="86591" cy="1729654"/>
            </a:xfrm>
            <a:grpFill/>
          </p:grpSpPr>
          <p:sp>
            <p:nvSpPr>
              <p:cNvPr id="93" name="Oval 92">
                <a:extLst>
                  <a:ext uri="{FF2B5EF4-FFF2-40B4-BE49-F238E27FC236}">
                    <a16:creationId xmlns="" xmlns:a16="http://schemas.microsoft.com/office/drawing/2014/main" id="{340D1657-54A1-46F3-B1DC-998063F67812}"/>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 xmlns:a16="http://schemas.microsoft.com/office/drawing/2014/main" id="{C1669A70-1DAC-498F-AB5C-8E8050B209D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 xmlns:a16="http://schemas.microsoft.com/office/drawing/2014/main" id="{EF52E370-21DD-4B9E-971A-B72A552BC725}"/>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 xmlns:a16="http://schemas.microsoft.com/office/drawing/2014/main" id="{867B3439-6708-452C-8E7D-7ACC2C83F62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 xmlns:a16="http://schemas.microsoft.com/office/drawing/2014/main" id="{39A99387-5750-40CA-A2C3-6093B03200A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a:extLst>
                  <a:ext uri="{FF2B5EF4-FFF2-40B4-BE49-F238E27FC236}">
                    <a16:creationId xmlns="" xmlns:a16="http://schemas.microsoft.com/office/drawing/2014/main" id="{77CD4979-8E37-4A55-BAE6-4702AAA82F1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 xmlns:a16="http://schemas.microsoft.com/office/drawing/2014/main" id="{72B9F5C5-E9ED-40B1-A850-67D8CF81FB0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 xmlns:a16="http://schemas.microsoft.com/office/drawing/2014/main" id="{6DB136E8-23B5-485C-81F9-65B6E3556C2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 xmlns:a16="http://schemas.microsoft.com/office/drawing/2014/main" id="{AE5A1B14-04E3-461A-BCA8-4254D4D8400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 xmlns:a16="http://schemas.microsoft.com/office/drawing/2014/main" id="{05E07A7D-4B74-4882-AB43-BBBB303B9F6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2" name="Group 81">
              <a:extLst>
                <a:ext uri="{FF2B5EF4-FFF2-40B4-BE49-F238E27FC236}">
                  <a16:creationId xmlns="" xmlns:a16="http://schemas.microsoft.com/office/drawing/2014/main" id="{CE0EC56B-FD84-4BEA-B1F3-0B181EB8211E}"/>
                </a:ext>
              </a:extLst>
            </p:cNvPr>
            <p:cNvGrpSpPr/>
            <p:nvPr/>
          </p:nvGrpSpPr>
          <p:grpSpPr>
            <a:xfrm rot="5400000">
              <a:off x="1055270" y="223441"/>
              <a:ext cx="86591" cy="1729654"/>
              <a:chOff x="85292" y="59892"/>
              <a:chExt cx="86591" cy="1729654"/>
            </a:xfrm>
            <a:grpFill/>
          </p:grpSpPr>
          <p:sp>
            <p:nvSpPr>
              <p:cNvPr id="83" name="Oval 82">
                <a:extLst>
                  <a:ext uri="{FF2B5EF4-FFF2-40B4-BE49-F238E27FC236}">
                    <a16:creationId xmlns="" xmlns:a16="http://schemas.microsoft.com/office/drawing/2014/main" id="{35F804F5-26BA-436E-B40B-B30E284EC6E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 xmlns:a16="http://schemas.microsoft.com/office/drawing/2014/main" id="{3E4AA924-361E-4477-93B5-5CBF68B0B88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 xmlns:a16="http://schemas.microsoft.com/office/drawing/2014/main" id="{8D5CCCF6-FB7D-4579-B0D9-891F9F500D4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 xmlns:a16="http://schemas.microsoft.com/office/drawing/2014/main" id="{A9F21A39-8D85-4650-AD05-75689CDA9D7F}"/>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 xmlns:a16="http://schemas.microsoft.com/office/drawing/2014/main" id="{FCD21955-8A08-4D03-B59A-9C03F93E8CF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 xmlns:a16="http://schemas.microsoft.com/office/drawing/2014/main" id="{6F1A9CEA-3ECE-48BC-9EB9-0642C7DC2977}"/>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 xmlns:a16="http://schemas.microsoft.com/office/drawing/2014/main" id="{04CE57BE-8602-41CB-8971-5D7E9BA4F21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 xmlns:a16="http://schemas.microsoft.com/office/drawing/2014/main" id="{723CD544-17A7-4A26-8C21-949FF32C455C}"/>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 xmlns:a16="http://schemas.microsoft.com/office/drawing/2014/main" id="{C016A52F-5E0B-46A6-9565-F264E4E4662C}"/>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 xmlns:a16="http://schemas.microsoft.com/office/drawing/2014/main" id="{5C314357-2C06-4593-A9EE-822A1DE6D77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3" name="Group 122">
            <a:extLst>
              <a:ext uri="{FF2B5EF4-FFF2-40B4-BE49-F238E27FC236}">
                <a16:creationId xmlns="" xmlns:a16="http://schemas.microsoft.com/office/drawing/2014/main" id="{F184C3A3-073C-4EF4-ADD6-2254197028A5}"/>
              </a:ext>
            </a:extLst>
          </p:cNvPr>
          <p:cNvGrpSpPr/>
          <p:nvPr/>
        </p:nvGrpSpPr>
        <p:grpSpPr>
          <a:xfrm rot="16200000">
            <a:off x="-23244" y="5404397"/>
            <a:ext cx="1729654" cy="848268"/>
            <a:chOff x="233739" y="283295"/>
            <a:chExt cx="1729654" cy="848268"/>
          </a:xfrm>
          <a:gradFill>
            <a:gsLst>
              <a:gs pos="0">
                <a:schemeClr val="accent3"/>
              </a:gs>
              <a:gs pos="100000">
                <a:schemeClr val="tx1">
                  <a:alpha val="0"/>
                </a:schemeClr>
              </a:gs>
            </a:gsLst>
            <a:lin ang="0" scaled="1"/>
          </a:gradFill>
        </p:grpSpPr>
        <p:grpSp>
          <p:nvGrpSpPr>
            <p:cNvPr id="124" name="Group 123">
              <a:extLst>
                <a:ext uri="{FF2B5EF4-FFF2-40B4-BE49-F238E27FC236}">
                  <a16:creationId xmlns="" xmlns:a16="http://schemas.microsoft.com/office/drawing/2014/main" id="{2F1BCD85-0C1D-4C81-A1CF-64000091D4E6}"/>
                </a:ext>
              </a:extLst>
            </p:cNvPr>
            <p:cNvGrpSpPr/>
            <p:nvPr/>
          </p:nvGrpSpPr>
          <p:grpSpPr>
            <a:xfrm rot="5400000">
              <a:off x="1055270" y="-538236"/>
              <a:ext cx="86591" cy="1729654"/>
              <a:chOff x="85292" y="59892"/>
              <a:chExt cx="86591" cy="1729654"/>
            </a:xfrm>
            <a:grpFill/>
          </p:grpSpPr>
          <p:sp>
            <p:nvSpPr>
              <p:cNvPr id="158" name="Oval 157">
                <a:extLst>
                  <a:ext uri="{FF2B5EF4-FFF2-40B4-BE49-F238E27FC236}">
                    <a16:creationId xmlns="" xmlns:a16="http://schemas.microsoft.com/office/drawing/2014/main" id="{FF2373DD-0104-4E61-B137-E791C61E9FB7}"/>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a:extLst>
                  <a:ext uri="{FF2B5EF4-FFF2-40B4-BE49-F238E27FC236}">
                    <a16:creationId xmlns="" xmlns:a16="http://schemas.microsoft.com/office/drawing/2014/main" id="{345AC7EC-89B0-4DAF-ABE1-917D9391A4A7}"/>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Oval 159">
                <a:extLst>
                  <a:ext uri="{FF2B5EF4-FFF2-40B4-BE49-F238E27FC236}">
                    <a16:creationId xmlns="" xmlns:a16="http://schemas.microsoft.com/office/drawing/2014/main" id="{5C8C5AE6-1949-4756-896F-650D7309154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Oval 160">
                <a:extLst>
                  <a:ext uri="{FF2B5EF4-FFF2-40B4-BE49-F238E27FC236}">
                    <a16:creationId xmlns="" xmlns:a16="http://schemas.microsoft.com/office/drawing/2014/main" id="{7714A075-3639-4519-AA5E-BB8C66AD98C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Oval 161">
                <a:extLst>
                  <a:ext uri="{FF2B5EF4-FFF2-40B4-BE49-F238E27FC236}">
                    <a16:creationId xmlns="" xmlns:a16="http://schemas.microsoft.com/office/drawing/2014/main" id="{C9935CF5-1B4B-4695-AFAC-6D9A16F0C7C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Oval 162">
                <a:extLst>
                  <a:ext uri="{FF2B5EF4-FFF2-40B4-BE49-F238E27FC236}">
                    <a16:creationId xmlns="" xmlns:a16="http://schemas.microsoft.com/office/drawing/2014/main" id="{C41A35E7-7A97-4863-9502-5BCECCEF422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Oval 163">
                <a:extLst>
                  <a:ext uri="{FF2B5EF4-FFF2-40B4-BE49-F238E27FC236}">
                    <a16:creationId xmlns="" xmlns:a16="http://schemas.microsoft.com/office/drawing/2014/main" id="{11EB2960-154B-454B-877C-5F091670D25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Oval 164">
                <a:extLst>
                  <a:ext uri="{FF2B5EF4-FFF2-40B4-BE49-F238E27FC236}">
                    <a16:creationId xmlns="" xmlns:a16="http://schemas.microsoft.com/office/drawing/2014/main" id="{0371AF70-5D28-4BBB-9493-087622E0386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Oval 165">
                <a:extLst>
                  <a:ext uri="{FF2B5EF4-FFF2-40B4-BE49-F238E27FC236}">
                    <a16:creationId xmlns="" xmlns:a16="http://schemas.microsoft.com/office/drawing/2014/main" id="{D2F1F8DC-F58E-49D4-91E3-85F61E12F3E0}"/>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Oval 166">
                <a:extLst>
                  <a:ext uri="{FF2B5EF4-FFF2-40B4-BE49-F238E27FC236}">
                    <a16:creationId xmlns="" xmlns:a16="http://schemas.microsoft.com/office/drawing/2014/main" id="{4E230B08-640F-4352-84BF-D632E137D54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5" name="Group 124">
              <a:extLst>
                <a:ext uri="{FF2B5EF4-FFF2-40B4-BE49-F238E27FC236}">
                  <a16:creationId xmlns="" xmlns:a16="http://schemas.microsoft.com/office/drawing/2014/main" id="{E9D79321-D215-4181-B7B5-6E83D3F90EEA}"/>
                </a:ext>
              </a:extLst>
            </p:cNvPr>
            <p:cNvGrpSpPr/>
            <p:nvPr/>
          </p:nvGrpSpPr>
          <p:grpSpPr>
            <a:xfrm rot="5400000">
              <a:off x="1055270" y="-284344"/>
              <a:ext cx="86591" cy="1729654"/>
              <a:chOff x="85292" y="59892"/>
              <a:chExt cx="86591" cy="1729654"/>
            </a:xfrm>
            <a:grpFill/>
          </p:grpSpPr>
          <p:sp>
            <p:nvSpPr>
              <p:cNvPr id="148" name="Oval 147">
                <a:extLst>
                  <a:ext uri="{FF2B5EF4-FFF2-40B4-BE49-F238E27FC236}">
                    <a16:creationId xmlns="" xmlns:a16="http://schemas.microsoft.com/office/drawing/2014/main" id="{91A2325B-90FB-4B3B-9B3E-5742ED7F6D0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a:extLst>
                  <a:ext uri="{FF2B5EF4-FFF2-40B4-BE49-F238E27FC236}">
                    <a16:creationId xmlns="" xmlns:a16="http://schemas.microsoft.com/office/drawing/2014/main" id="{9587DC87-5BDA-4D33-9B80-B4CE8E797ADA}"/>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Oval 149">
                <a:extLst>
                  <a:ext uri="{FF2B5EF4-FFF2-40B4-BE49-F238E27FC236}">
                    <a16:creationId xmlns="" xmlns:a16="http://schemas.microsoft.com/office/drawing/2014/main" id="{A7E49CED-B878-4F1D-97FD-F0D5FBA13C9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Oval 150">
                <a:extLst>
                  <a:ext uri="{FF2B5EF4-FFF2-40B4-BE49-F238E27FC236}">
                    <a16:creationId xmlns="" xmlns:a16="http://schemas.microsoft.com/office/drawing/2014/main" id="{E4EB0D13-92C9-4227-85E9-42968549A3AD}"/>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Oval 151">
                <a:extLst>
                  <a:ext uri="{FF2B5EF4-FFF2-40B4-BE49-F238E27FC236}">
                    <a16:creationId xmlns="" xmlns:a16="http://schemas.microsoft.com/office/drawing/2014/main" id="{456749B0-5674-45E1-B4DB-A3DB15FE37F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Oval 152">
                <a:extLst>
                  <a:ext uri="{FF2B5EF4-FFF2-40B4-BE49-F238E27FC236}">
                    <a16:creationId xmlns="" xmlns:a16="http://schemas.microsoft.com/office/drawing/2014/main" id="{1FF90E95-A4E9-4220-9A93-EC0677C0AAC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Oval 153">
                <a:extLst>
                  <a:ext uri="{FF2B5EF4-FFF2-40B4-BE49-F238E27FC236}">
                    <a16:creationId xmlns="" xmlns:a16="http://schemas.microsoft.com/office/drawing/2014/main" id="{F1F06578-D017-4B76-ACFF-1DF22AD672DD}"/>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Oval 154">
                <a:extLst>
                  <a:ext uri="{FF2B5EF4-FFF2-40B4-BE49-F238E27FC236}">
                    <a16:creationId xmlns="" xmlns:a16="http://schemas.microsoft.com/office/drawing/2014/main" id="{53111620-21A8-4D82-8F30-BABE40857A5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Oval 155">
                <a:extLst>
                  <a:ext uri="{FF2B5EF4-FFF2-40B4-BE49-F238E27FC236}">
                    <a16:creationId xmlns="" xmlns:a16="http://schemas.microsoft.com/office/drawing/2014/main" id="{28BF1636-A4E1-407A-8D75-7C89541A4B0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Oval 156">
                <a:extLst>
                  <a:ext uri="{FF2B5EF4-FFF2-40B4-BE49-F238E27FC236}">
                    <a16:creationId xmlns="" xmlns:a16="http://schemas.microsoft.com/office/drawing/2014/main" id="{D69FB0EC-49CB-470C-A688-D8EEF01C0C1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6" name="Group 125">
              <a:extLst>
                <a:ext uri="{FF2B5EF4-FFF2-40B4-BE49-F238E27FC236}">
                  <a16:creationId xmlns="" xmlns:a16="http://schemas.microsoft.com/office/drawing/2014/main" id="{E78C7CF2-5B50-4FDE-945B-85F366423944}"/>
                </a:ext>
              </a:extLst>
            </p:cNvPr>
            <p:cNvGrpSpPr/>
            <p:nvPr/>
          </p:nvGrpSpPr>
          <p:grpSpPr>
            <a:xfrm rot="5400000">
              <a:off x="1055270" y="-30452"/>
              <a:ext cx="86591" cy="1729654"/>
              <a:chOff x="85292" y="59892"/>
              <a:chExt cx="86591" cy="1729654"/>
            </a:xfrm>
            <a:grpFill/>
          </p:grpSpPr>
          <p:sp>
            <p:nvSpPr>
              <p:cNvPr id="138" name="Oval 137">
                <a:extLst>
                  <a:ext uri="{FF2B5EF4-FFF2-40B4-BE49-F238E27FC236}">
                    <a16:creationId xmlns="" xmlns:a16="http://schemas.microsoft.com/office/drawing/2014/main" id="{80F752F0-D6D2-4C81-B51E-B41D0A5F370D}"/>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Oval 138">
                <a:extLst>
                  <a:ext uri="{FF2B5EF4-FFF2-40B4-BE49-F238E27FC236}">
                    <a16:creationId xmlns="" xmlns:a16="http://schemas.microsoft.com/office/drawing/2014/main" id="{05721A32-45CF-4DAC-89CF-522A15558B8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Oval 139">
                <a:extLst>
                  <a:ext uri="{FF2B5EF4-FFF2-40B4-BE49-F238E27FC236}">
                    <a16:creationId xmlns="" xmlns:a16="http://schemas.microsoft.com/office/drawing/2014/main" id="{1B15AC74-A498-4469-BE65-01CB7A6F7BE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a:extLst>
                  <a:ext uri="{FF2B5EF4-FFF2-40B4-BE49-F238E27FC236}">
                    <a16:creationId xmlns="" xmlns:a16="http://schemas.microsoft.com/office/drawing/2014/main" id="{1FE29D41-6A85-4140-9F2D-26A3154F9D3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Oval 141">
                <a:extLst>
                  <a:ext uri="{FF2B5EF4-FFF2-40B4-BE49-F238E27FC236}">
                    <a16:creationId xmlns="" xmlns:a16="http://schemas.microsoft.com/office/drawing/2014/main" id="{31F04094-164F-48B5-8AF3-79C2D48092E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Oval 142">
                <a:extLst>
                  <a:ext uri="{FF2B5EF4-FFF2-40B4-BE49-F238E27FC236}">
                    <a16:creationId xmlns="" xmlns:a16="http://schemas.microsoft.com/office/drawing/2014/main" id="{03C47591-C01F-4A21-A881-B3ADDBB5AF38}"/>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val 143">
                <a:extLst>
                  <a:ext uri="{FF2B5EF4-FFF2-40B4-BE49-F238E27FC236}">
                    <a16:creationId xmlns="" xmlns:a16="http://schemas.microsoft.com/office/drawing/2014/main" id="{E0165459-0291-4E9A-B276-F5F43E9583E4}"/>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a:extLst>
                  <a:ext uri="{FF2B5EF4-FFF2-40B4-BE49-F238E27FC236}">
                    <a16:creationId xmlns="" xmlns:a16="http://schemas.microsoft.com/office/drawing/2014/main" id="{F850E9DC-097E-46B7-A242-1810A996BBF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Oval 145">
                <a:extLst>
                  <a:ext uri="{FF2B5EF4-FFF2-40B4-BE49-F238E27FC236}">
                    <a16:creationId xmlns="" xmlns:a16="http://schemas.microsoft.com/office/drawing/2014/main" id="{FEF33DE2-183A-4301-958F-9E1AD301A00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a:extLst>
                  <a:ext uri="{FF2B5EF4-FFF2-40B4-BE49-F238E27FC236}">
                    <a16:creationId xmlns="" xmlns:a16="http://schemas.microsoft.com/office/drawing/2014/main" id="{9B6FCC23-E8EA-46D1-B589-AF25D9BFA639}"/>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7" name="Group 126">
              <a:extLst>
                <a:ext uri="{FF2B5EF4-FFF2-40B4-BE49-F238E27FC236}">
                  <a16:creationId xmlns="" xmlns:a16="http://schemas.microsoft.com/office/drawing/2014/main" id="{6E72CABD-5337-4E73-A16D-F3C6D2B7AACC}"/>
                </a:ext>
              </a:extLst>
            </p:cNvPr>
            <p:cNvGrpSpPr/>
            <p:nvPr/>
          </p:nvGrpSpPr>
          <p:grpSpPr>
            <a:xfrm rot="5400000">
              <a:off x="1055270" y="223441"/>
              <a:ext cx="86591" cy="1729654"/>
              <a:chOff x="85292" y="59892"/>
              <a:chExt cx="86591" cy="1729654"/>
            </a:xfrm>
            <a:grpFill/>
          </p:grpSpPr>
          <p:sp>
            <p:nvSpPr>
              <p:cNvPr id="128" name="Oval 127">
                <a:extLst>
                  <a:ext uri="{FF2B5EF4-FFF2-40B4-BE49-F238E27FC236}">
                    <a16:creationId xmlns="" xmlns:a16="http://schemas.microsoft.com/office/drawing/2014/main" id="{136A3317-CB32-4574-B664-CE93E62402DA}"/>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Oval 128">
                <a:extLst>
                  <a:ext uri="{FF2B5EF4-FFF2-40B4-BE49-F238E27FC236}">
                    <a16:creationId xmlns="" xmlns:a16="http://schemas.microsoft.com/office/drawing/2014/main" id="{2F1A3F06-65C6-4314-B364-C613F20BC0E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Oval 129">
                <a:extLst>
                  <a:ext uri="{FF2B5EF4-FFF2-40B4-BE49-F238E27FC236}">
                    <a16:creationId xmlns="" xmlns:a16="http://schemas.microsoft.com/office/drawing/2014/main" id="{405FD8D2-2A72-41DC-97A1-3BBC3BA58C0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Oval 130">
                <a:extLst>
                  <a:ext uri="{FF2B5EF4-FFF2-40B4-BE49-F238E27FC236}">
                    <a16:creationId xmlns="" xmlns:a16="http://schemas.microsoft.com/office/drawing/2014/main" id="{8223FC2C-3E81-479D-BCA9-27A74861B47C}"/>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Oval 131">
                <a:extLst>
                  <a:ext uri="{FF2B5EF4-FFF2-40B4-BE49-F238E27FC236}">
                    <a16:creationId xmlns="" xmlns:a16="http://schemas.microsoft.com/office/drawing/2014/main" id="{33ECFB38-EC1C-436B-B1FF-4B3C8526010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Oval 132">
                <a:extLst>
                  <a:ext uri="{FF2B5EF4-FFF2-40B4-BE49-F238E27FC236}">
                    <a16:creationId xmlns="" xmlns:a16="http://schemas.microsoft.com/office/drawing/2014/main" id="{EDC08F8F-07F7-4AA7-9F6E-4F3A4A77164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Oval 133">
                <a:extLst>
                  <a:ext uri="{FF2B5EF4-FFF2-40B4-BE49-F238E27FC236}">
                    <a16:creationId xmlns="" xmlns:a16="http://schemas.microsoft.com/office/drawing/2014/main" id="{57609A66-32D2-4EF0-9DCE-A2537AB1074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Oval 134">
                <a:extLst>
                  <a:ext uri="{FF2B5EF4-FFF2-40B4-BE49-F238E27FC236}">
                    <a16:creationId xmlns="" xmlns:a16="http://schemas.microsoft.com/office/drawing/2014/main" id="{03B13ECD-F2C1-43A7-927A-ECAF48CE60B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Oval 135">
                <a:extLst>
                  <a:ext uri="{FF2B5EF4-FFF2-40B4-BE49-F238E27FC236}">
                    <a16:creationId xmlns="" xmlns:a16="http://schemas.microsoft.com/office/drawing/2014/main" id="{3B1D26A5-414D-4F83-8062-FFF3667BEF3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Oval 136">
                <a:extLst>
                  <a:ext uri="{FF2B5EF4-FFF2-40B4-BE49-F238E27FC236}">
                    <a16:creationId xmlns="" xmlns:a16="http://schemas.microsoft.com/office/drawing/2014/main" id="{91A00627-C25C-45AE-A80B-92DC6298D9A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68" name="Group 167"/>
          <p:cNvGrpSpPr/>
          <p:nvPr/>
        </p:nvGrpSpPr>
        <p:grpSpPr>
          <a:xfrm>
            <a:off x="385564" y="290965"/>
            <a:ext cx="4785616" cy="647452"/>
            <a:chOff x="319878" y="3998260"/>
            <a:chExt cx="4785616" cy="647452"/>
          </a:xfrm>
        </p:grpSpPr>
        <p:sp>
          <p:nvSpPr>
            <p:cNvPr id="169" name="Rectangle 168">
              <a:extLst>
                <a:ext uri="{FF2B5EF4-FFF2-40B4-BE49-F238E27FC236}">
                  <a16:creationId xmlns="" xmlns:a16="http://schemas.microsoft.com/office/drawing/2014/main" id="{741F1DEF-32DD-40D0-B63D-396863A5080A}"/>
                </a:ext>
              </a:extLst>
            </p:cNvPr>
            <p:cNvSpPr/>
            <p:nvPr/>
          </p:nvSpPr>
          <p:spPr>
            <a:xfrm>
              <a:off x="319878" y="4021527"/>
              <a:ext cx="4422107" cy="442804"/>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Title 1"/>
            <p:cNvSpPr txBox="1">
              <a:spLocks/>
            </p:cNvSpPr>
            <p:nvPr/>
          </p:nvSpPr>
          <p:spPr>
            <a:xfrm>
              <a:off x="319879" y="3998260"/>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id-ID" sz="3200" dirty="0" smtClean="0"/>
                <a:t>Use Case</a:t>
              </a:r>
              <a:endParaRPr lang="en-US" sz="3200" dirty="0"/>
            </a:p>
          </p:txBody>
        </p:sp>
      </p:grpSp>
      <p:sp>
        <p:nvSpPr>
          <p:cNvPr id="174" name="Title 1"/>
          <p:cNvSpPr txBox="1">
            <a:spLocks/>
          </p:cNvSpPr>
          <p:nvPr/>
        </p:nvSpPr>
        <p:spPr>
          <a:xfrm>
            <a:off x="447757" y="842823"/>
            <a:ext cx="11541614" cy="3672027"/>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endParaRPr lang="en-US" sz="2800" b="0" dirty="0">
              <a:latin typeface="Segoe UI Historic" pitchFamily="34" charset="0"/>
              <a:ea typeface="Segoe UI Historic" pitchFamily="34" charset="0"/>
              <a:cs typeface="Segoe UI Historic" pitchFamily="34" charset="0"/>
            </a:endParaRPr>
          </a:p>
        </p:txBody>
      </p:sp>
      <p:pic>
        <p:nvPicPr>
          <p:cNvPr id="23553" name="Picture 1"/>
          <p:cNvPicPr>
            <a:picLocks noChangeAspect="1" noChangeArrowheads="1"/>
          </p:cNvPicPr>
          <p:nvPr/>
        </p:nvPicPr>
        <p:blipFill>
          <a:blip r:embed="rId5"/>
          <a:srcRect l="5388" t="5806" r="4521"/>
          <a:stretch>
            <a:fillRect/>
          </a:stretch>
        </p:blipFill>
        <p:spPr bwMode="auto">
          <a:xfrm>
            <a:off x="400050" y="981075"/>
            <a:ext cx="7324366" cy="5448300"/>
          </a:xfrm>
          <a:prstGeom prst="rect">
            <a:avLst/>
          </a:prstGeom>
          <a:noFill/>
          <a:ln w="9525">
            <a:noFill/>
            <a:miter lim="800000"/>
            <a:headEnd/>
            <a:tailEnd/>
          </a:ln>
        </p:spPr>
      </p:pic>
    </p:spTree>
    <p:extLst>
      <p:ext uri="{BB962C8B-B14F-4D97-AF65-F5344CB8AC3E}">
        <p14:creationId xmlns="" xmlns:p14="http://schemas.microsoft.com/office/powerpoint/2010/main" val="2612186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25D9B25B-0E8C-41AC-94F8-8AF8FBBD8FDC}"/>
              </a:ext>
            </a:extLst>
          </p:cNvPr>
          <p:cNvPicPr>
            <a:picLocks noChangeAspect="1"/>
          </p:cNvPicPr>
          <p:nvPr/>
        </p:nvPicPr>
        <p:blipFill rotWithShape="1">
          <a:blip r:embed="rId3">
            <a:extLst>
              <a:ext uri="{BEBA8EAE-BF5A-486C-A8C5-ECC9F3942E4B}">
                <a14:imgProps xmlns="" xmlns:a14="http://schemas.microsoft.com/office/drawing/2010/main">
                  <a14:imgLayer r:embed="rId4">
                    <a14:imgEffect>
                      <a14:saturation sat="0"/>
                    </a14:imgEffect>
                  </a14:imgLayer>
                </a14:imgProps>
              </a:ext>
              <a:ext uri="{28A0092B-C50C-407E-A947-70E740481C1C}">
                <a14:useLocalDpi xmlns="" xmlns:a14="http://schemas.microsoft.com/office/drawing/2010/main" val="0"/>
              </a:ext>
            </a:extLst>
          </a:blip>
          <a:srcRect l="415" t="22198" r="10983" b="11351"/>
          <a:stretch/>
        </p:blipFill>
        <p:spPr>
          <a:xfrm>
            <a:off x="0" y="0"/>
            <a:ext cx="12192000" cy="6857996"/>
          </a:xfrm>
          <a:prstGeom prst="rect">
            <a:avLst/>
          </a:prstGeom>
        </p:spPr>
      </p:pic>
      <p:sp>
        <p:nvSpPr>
          <p:cNvPr id="3" name="Rectangle 2">
            <a:extLst>
              <a:ext uri="{FF2B5EF4-FFF2-40B4-BE49-F238E27FC236}">
                <a16:creationId xmlns="" xmlns:a16="http://schemas.microsoft.com/office/drawing/2014/main" id="{74109078-FCDA-44A8-8A66-4327AA30E454}"/>
              </a:ext>
            </a:extLst>
          </p:cNvPr>
          <p:cNvSpPr/>
          <p:nvPr/>
        </p:nvSpPr>
        <p:spPr>
          <a:xfrm>
            <a:off x="0" y="0"/>
            <a:ext cx="12192000" cy="6858000"/>
          </a:xfrm>
          <a:prstGeom prst="rect">
            <a:avLst/>
          </a:prstGeom>
          <a:gradFill flip="none" rotWithShape="1">
            <a:gsLst>
              <a:gs pos="28000">
                <a:schemeClr val="tx1">
                  <a:alpha val="95000"/>
                </a:schemeClr>
              </a:gs>
              <a:gs pos="100000">
                <a:schemeClr val="tx1">
                  <a:alpha val="95000"/>
                </a:schemeClr>
              </a:gs>
              <a:gs pos="57000">
                <a:schemeClr val="tx1">
                  <a:alpha val="8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6" name="Group 65">
            <a:extLst>
              <a:ext uri="{FF2B5EF4-FFF2-40B4-BE49-F238E27FC236}">
                <a16:creationId xmlns="" xmlns:a16="http://schemas.microsoft.com/office/drawing/2014/main" id="{42D1CE81-09C4-4F2E-B70E-017BDD44554D}"/>
              </a:ext>
            </a:extLst>
          </p:cNvPr>
          <p:cNvGrpSpPr/>
          <p:nvPr/>
        </p:nvGrpSpPr>
        <p:grpSpPr>
          <a:xfrm>
            <a:off x="10311173" y="5205003"/>
            <a:ext cx="1729654" cy="848268"/>
            <a:chOff x="233739" y="283295"/>
            <a:chExt cx="1729654" cy="848268"/>
          </a:xfrm>
          <a:gradFill>
            <a:gsLst>
              <a:gs pos="100000">
                <a:schemeClr val="accent6"/>
              </a:gs>
              <a:gs pos="0">
                <a:schemeClr val="tx1">
                  <a:alpha val="0"/>
                </a:schemeClr>
              </a:gs>
            </a:gsLst>
            <a:lin ang="0" scaled="1"/>
          </a:gradFill>
        </p:grpSpPr>
        <p:grpSp>
          <p:nvGrpSpPr>
            <p:cNvPr id="67" name="Group 66">
              <a:extLst>
                <a:ext uri="{FF2B5EF4-FFF2-40B4-BE49-F238E27FC236}">
                  <a16:creationId xmlns="" xmlns:a16="http://schemas.microsoft.com/office/drawing/2014/main" id="{F08EE0F5-B993-4223-A8B7-4D509CE56153}"/>
                </a:ext>
              </a:extLst>
            </p:cNvPr>
            <p:cNvGrpSpPr/>
            <p:nvPr/>
          </p:nvGrpSpPr>
          <p:grpSpPr>
            <a:xfrm rot="5400000">
              <a:off x="1055270" y="-538236"/>
              <a:ext cx="86591" cy="1729654"/>
              <a:chOff x="85292" y="59892"/>
              <a:chExt cx="86591" cy="1729654"/>
            </a:xfrm>
            <a:grpFill/>
          </p:grpSpPr>
          <p:sp>
            <p:nvSpPr>
              <p:cNvPr id="101" name="Oval 100">
                <a:extLst>
                  <a:ext uri="{FF2B5EF4-FFF2-40B4-BE49-F238E27FC236}">
                    <a16:creationId xmlns="" xmlns:a16="http://schemas.microsoft.com/office/drawing/2014/main" id="{76BF4C9F-E80B-4087-B884-AF85FF1C701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 xmlns:a16="http://schemas.microsoft.com/office/drawing/2014/main" id="{399EEE77-458E-4BC1-8DB5-752163152A4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a:extLst>
                  <a:ext uri="{FF2B5EF4-FFF2-40B4-BE49-F238E27FC236}">
                    <a16:creationId xmlns="" xmlns:a16="http://schemas.microsoft.com/office/drawing/2014/main" id="{4E4FF6FE-A198-45EF-A1E0-8A986FF7771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 xmlns:a16="http://schemas.microsoft.com/office/drawing/2014/main" id="{464D79C8-7C36-4236-8FBA-D5049A88E4F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 xmlns:a16="http://schemas.microsoft.com/office/drawing/2014/main" id="{42E25FA1-AB9F-495E-A790-BF354F904E0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 xmlns:a16="http://schemas.microsoft.com/office/drawing/2014/main" id="{7399DD22-1F60-477F-B9ED-65BB792EABE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 xmlns:a16="http://schemas.microsoft.com/office/drawing/2014/main" id="{09DE759D-A32C-4D7E-B34E-8E00B640787E}"/>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 xmlns:a16="http://schemas.microsoft.com/office/drawing/2014/main" id="{913C6E2D-8F40-496A-A460-8FF3AC3FD18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 xmlns:a16="http://schemas.microsoft.com/office/drawing/2014/main" id="{EB3F6F24-FF5F-46CE-9FA6-33CC7D1CE05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 xmlns:a16="http://schemas.microsoft.com/office/drawing/2014/main" id="{92960832-EC64-4DFC-9EA9-878FEF9830C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8" name="Group 67">
              <a:extLst>
                <a:ext uri="{FF2B5EF4-FFF2-40B4-BE49-F238E27FC236}">
                  <a16:creationId xmlns="" xmlns:a16="http://schemas.microsoft.com/office/drawing/2014/main" id="{34EA34DC-02AF-4A1B-BB5B-06B40DD41EF2}"/>
                </a:ext>
              </a:extLst>
            </p:cNvPr>
            <p:cNvGrpSpPr/>
            <p:nvPr/>
          </p:nvGrpSpPr>
          <p:grpSpPr>
            <a:xfrm rot="5400000">
              <a:off x="1055270" y="-284344"/>
              <a:ext cx="86591" cy="1729654"/>
              <a:chOff x="85292" y="59892"/>
              <a:chExt cx="86591" cy="1729654"/>
            </a:xfrm>
            <a:grpFill/>
          </p:grpSpPr>
          <p:sp>
            <p:nvSpPr>
              <p:cNvPr id="91" name="Oval 90">
                <a:extLst>
                  <a:ext uri="{FF2B5EF4-FFF2-40B4-BE49-F238E27FC236}">
                    <a16:creationId xmlns="" xmlns:a16="http://schemas.microsoft.com/office/drawing/2014/main" id="{992282F3-4D6A-48D2-B567-1AD87673EF0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 xmlns:a16="http://schemas.microsoft.com/office/drawing/2014/main" id="{370B712B-3CBB-42F8-A660-8531F380383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 xmlns:a16="http://schemas.microsoft.com/office/drawing/2014/main" id="{7D1F15BE-D489-43F4-8C7D-ABB23A77547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 xmlns:a16="http://schemas.microsoft.com/office/drawing/2014/main" id="{3D0616F7-6C0A-479D-9FFF-8385B18E754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 xmlns:a16="http://schemas.microsoft.com/office/drawing/2014/main" id="{FFFDE17D-B7AC-4549-9292-27E5C25114C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 xmlns:a16="http://schemas.microsoft.com/office/drawing/2014/main" id="{6147CA50-14AD-4D8E-B80B-E946BDD4688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 xmlns:a16="http://schemas.microsoft.com/office/drawing/2014/main" id="{FD4A5C0E-7396-4406-B9EF-C314824BE241}"/>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a:extLst>
                  <a:ext uri="{FF2B5EF4-FFF2-40B4-BE49-F238E27FC236}">
                    <a16:creationId xmlns="" xmlns:a16="http://schemas.microsoft.com/office/drawing/2014/main" id="{CE2CB2F9-3AF2-48FA-A0B7-B68E7C98280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 xmlns:a16="http://schemas.microsoft.com/office/drawing/2014/main" id="{C0A6A90F-BDAA-4993-9D88-2BBE84EFA1A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 xmlns:a16="http://schemas.microsoft.com/office/drawing/2014/main" id="{F8046836-0284-4A2F-85D6-7DBBC24B402F}"/>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Group 68">
              <a:extLst>
                <a:ext uri="{FF2B5EF4-FFF2-40B4-BE49-F238E27FC236}">
                  <a16:creationId xmlns="" xmlns:a16="http://schemas.microsoft.com/office/drawing/2014/main" id="{D977887C-56A5-4129-9657-7B468F81CAF9}"/>
                </a:ext>
              </a:extLst>
            </p:cNvPr>
            <p:cNvGrpSpPr/>
            <p:nvPr/>
          </p:nvGrpSpPr>
          <p:grpSpPr>
            <a:xfrm rot="5400000">
              <a:off x="1055270" y="-30452"/>
              <a:ext cx="86591" cy="1729654"/>
              <a:chOff x="85292" y="59892"/>
              <a:chExt cx="86591" cy="1729654"/>
            </a:xfrm>
            <a:grpFill/>
          </p:grpSpPr>
          <p:sp>
            <p:nvSpPr>
              <p:cNvPr id="81" name="Oval 80">
                <a:extLst>
                  <a:ext uri="{FF2B5EF4-FFF2-40B4-BE49-F238E27FC236}">
                    <a16:creationId xmlns="" xmlns:a16="http://schemas.microsoft.com/office/drawing/2014/main" id="{69DAF664-8DF1-4FAD-8E54-0DA9128827DF}"/>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 xmlns:a16="http://schemas.microsoft.com/office/drawing/2014/main" id="{DDD81D61-6BFB-40D4-B82A-41496C2C5AA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 xmlns:a16="http://schemas.microsoft.com/office/drawing/2014/main" id="{7154734A-04E5-4B89-80DB-A4C1958CD84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 xmlns:a16="http://schemas.microsoft.com/office/drawing/2014/main" id="{869319B0-07D0-4949-B912-E3F0E347C59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 xmlns:a16="http://schemas.microsoft.com/office/drawing/2014/main" id="{F994746B-C7F0-4B4D-994B-F50444A98A61}"/>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 xmlns:a16="http://schemas.microsoft.com/office/drawing/2014/main" id="{EBD7C69E-DFCC-477C-B905-945885FBA30F}"/>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 xmlns:a16="http://schemas.microsoft.com/office/drawing/2014/main" id="{2166C815-ACC5-40B9-B101-D8F494621B35}"/>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 xmlns:a16="http://schemas.microsoft.com/office/drawing/2014/main" id="{8469E53D-A50F-4B60-9F03-5F5FB6083BB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 xmlns:a16="http://schemas.microsoft.com/office/drawing/2014/main" id="{9D1943AF-75BA-4E12-ADB6-BA20E042FFB3}"/>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 xmlns:a16="http://schemas.microsoft.com/office/drawing/2014/main" id="{8D741D2D-6FA2-4D46-9DB8-33064AABD78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0" name="Group 69">
              <a:extLst>
                <a:ext uri="{FF2B5EF4-FFF2-40B4-BE49-F238E27FC236}">
                  <a16:creationId xmlns="" xmlns:a16="http://schemas.microsoft.com/office/drawing/2014/main" id="{05C44329-F8DB-4A06-93D3-7234D36935F3}"/>
                </a:ext>
              </a:extLst>
            </p:cNvPr>
            <p:cNvGrpSpPr/>
            <p:nvPr/>
          </p:nvGrpSpPr>
          <p:grpSpPr>
            <a:xfrm rot="5400000">
              <a:off x="1055270" y="223441"/>
              <a:ext cx="86591" cy="1729654"/>
              <a:chOff x="85292" y="59892"/>
              <a:chExt cx="86591" cy="1729654"/>
            </a:xfrm>
            <a:grpFill/>
          </p:grpSpPr>
          <p:sp>
            <p:nvSpPr>
              <p:cNvPr id="71" name="Oval 70">
                <a:extLst>
                  <a:ext uri="{FF2B5EF4-FFF2-40B4-BE49-F238E27FC236}">
                    <a16:creationId xmlns="" xmlns:a16="http://schemas.microsoft.com/office/drawing/2014/main" id="{147A1DEF-EE03-40B4-9CA6-D6D65908A3E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 xmlns:a16="http://schemas.microsoft.com/office/drawing/2014/main" id="{4F75BC42-8C00-479C-980F-D89D17698DAC}"/>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 xmlns:a16="http://schemas.microsoft.com/office/drawing/2014/main" id="{4FBFCEA7-A90E-40BD-93F3-293C90EBB231}"/>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 xmlns:a16="http://schemas.microsoft.com/office/drawing/2014/main" id="{E126E582-4CFF-4C82-8054-E1C92689685A}"/>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 xmlns:a16="http://schemas.microsoft.com/office/drawing/2014/main" id="{7FD787DE-79BE-4ADD-A156-BD9B58D5F0D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 xmlns:a16="http://schemas.microsoft.com/office/drawing/2014/main" id="{1194C2FB-0AD0-419A-B2FE-2BCB221F863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 xmlns:a16="http://schemas.microsoft.com/office/drawing/2014/main" id="{6C41DE5E-286B-4B38-9B40-D7A1B2CEA53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 xmlns:a16="http://schemas.microsoft.com/office/drawing/2014/main" id="{3B0AF76A-D5C1-427B-8A67-829BA1CCA1E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 xmlns:a16="http://schemas.microsoft.com/office/drawing/2014/main" id="{F22FE62D-F607-4780-B721-55DBB2ADF36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 xmlns:a16="http://schemas.microsoft.com/office/drawing/2014/main" id="{93772937-E602-4F79-896D-2BAB708F103E}"/>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8" name="Rectangle: Rounded Corners 7">
            <a:extLst>
              <a:ext uri="{FF2B5EF4-FFF2-40B4-BE49-F238E27FC236}">
                <a16:creationId xmlns="" xmlns:a16="http://schemas.microsoft.com/office/drawing/2014/main" id="{EF37D5A3-2955-4503-81F6-9EBA1CE6B487}"/>
              </a:ext>
            </a:extLst>
          </p:cNvPr>
          <p:cNvSpPr/>
          <p:nvPr/>
        </p:nvSpPr>
        <p:spPr>
          <a:xfrm>
            <a:off x="7309757" y="5944053"/>
            <a:ext cx="4882243" cy="613682"/>
          </a:xfrm>
          <a:prstGeom prst="roundRect">
            <a:avLst>
              <a:gd name="adj" fmla="val 5966"/>
            </a:avLst>
          </a:prstGeom>
          <a:pattFill prst="dkUpDiag">
            <a:fgClr>
              <a:schemeClr val="accent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 name="Group 32">
            <a:extLst>
              <a:ext uri="{FF2B5EF4-FFF2-40B4-BE49-F238E27FC236}">
                <a16:creationId xmlns="" xmlns:a16="http://schemas.microsoft.com/office/drawing/2014/main" id="{1FB99EBF-2C6C-4CD4-99B1-88713C45DE97}"/>
              </a:ext>
            </a:extLst>
          </p:cNvPr>
          <p:cNvGrpSpPr/>
          <p:nvPr/>
        </p:nvGrpSpPr>
        <p:grpSpPr>
          <a:xfrm>
            <a:off x="7628890" y="6163355"/>
            <a:ext cx="2595458" cy="144689"/>
            <a:chOff x="9063142" y="6163355"/>
            <a:chExt cx="2595458" cy="144689"/>
          </a:xfrm>
        </p:grpSpPr>
        <p:grpSp>
          <p:nvGrpSpPr>
            <p:cNvPr id="12" name="Group 11">
              <a:extLst>
                <a:ext uri="{FF2B5EF4-FFF2-40B4-BE49-F238E27FC236}">
                  <a16:creationId xmlns="" xmlns:a16="http://schemas.microsoft.com/office/drawing/2014/main" id="{A42A4266-DD26-42F9-853B-F4E1C63E5CBE}"/>
                </a:ext>
              </a:extLst>
            </p:cNvPr>
            <p:cNvGrpSpPr/>
            <p:nvPr/>
          </p:nvGrpSpPr>
          <p:grpSpPr>
            <a:xfrm>
              <a:off x="10853842" y="6163355"/>
              <a:ext cx="804758" cy="144689"/>
              <a:chOff x="4455886" y="479425"/>
              <a:chExt cx="804758" cy="144689"/>
            </a:xfrm>
          </p:grpSpPr>
          <p:cxnSp>
            <p:nvCxnSpPr>
              <p:cNvPr id="13" name="Straight Connector 12">
                <a:extLst>
                  <a:ext uri="{FF2B5EF4-FFF2-40B4-BE49-F238E27FC236}">
                    <a16:creationId xmlns="" xmlns:a16="http://schemas.microsoft.com/office/drawing/2014/main" id="{AA46A6FA-5497-4D58-90B9-F3225C40D627}"/>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 xmlns:a16="http://schemas.microsoft.com/office/drawing/2014/main" id="{32613525-20C9-4565-BEA2-FA953C3A98AB}"/>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 xmlns:a16="http://schemas.microsoft.com/office/drawing/2014/main" id="{C78DD769-5AD2-4D03-9E28-3D53FA0AA2CF}"/>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 xmlns:a16="http://schemas.microsoft.com/office/drawing/2014/main" id="{1C3B72BF-54C3-4EF0-82D2-38EE8D6BE15F}"/>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 xmlns:a16="http://schemas.microsoft.com/office/drawing/2014/main" id="{921F0CB7-45CB-4A68-A263-DEEC34243448}"/>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 xmlns:a16="http://schemas.microsoft.com/office/drawing/2014/main" id="{C721007D-4E29-4484-850D-1BE9203421E7}"/>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 xmlns:a16="http://schemas.microsoft.com/office/drawing/2014/main" id="{53931F45-C6B6-46A5-8287-D706A6384E82}"/>
                </a:ext>
              </a:extLst>
            </p:cNvPr>
            <p:cNvGrpSpPr/>
            <p:nvPr/>
          </p:nvGrpSpPr>
          <p:grpSpPr>
            <a:xfrm>
              <a:off x="9962302" y="6163355"/>
              <a:ext cx="804758" cy="144689"/>
              <a:chOff x="4455886" y="479425"/>
              <a:chExt cx="804758" cy="144689"/>
            </a:xfrm>
          </p:grpSpPr>
          <p:cxnSp>
            <p:nvCxnSpPr>
              <p:cNvPr id="20" name="Straight Connector 19">
                <a:extLst>
                  <a:ext uri="{FF2B5EF4-FFF2-40B4-BE49-F238E27FC236}">
                    <a16:creationId xmlns="" xmlns:a16="http://schemas.microsoft.com/office/drawing/2014/main" id="{44E26DDA-6803-4385-9F31-6ED9C157F0F5}"/>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19D0DC2B-B52E-4015-B5E9-F6EDD60EDEA2}"/>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A4571B84-9BAB-4513-8A69-E6EA5CD9C94D}"/>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 xmlns:a16="http://schemas.microsoft.com/office/drawing/2014/main" id="{C8E11DEC-14BF-4286-A9BC-CD5D5344D00B}"/>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 xmlns:a16="http://schemas.microsoft.com/office/drawing/2014/main" id="{69922D6A-72FB-4975-B808-A83B3176DCC3}"/>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 xmlns:a16="http://schemas.microsoft.com/office/drawing/2014/main" id="{2E7B82E3-A577-4272-A82B-852C8F4FFB9D}"/>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 xmlns:a16="http://schemas.microsoft.com/office/drawing/2014/main" id="{666E419D-21DB-484D-960A-0E69750668F1}"/>
                </a:ext>
              </a:extLst>
            </p:cNvPr>
            <p:cNvGrpSpPr/>
            <p:nvPr/>
          </p:nvGrpSpPr>
          <p:grpSpPr>
            <a:xfrm>
              <a:off x="9063142" y="6163355"/>
              <a:ext cx="804758" cy="144689"/>
              <a:chOff x="4455886" y="479425"/>
              <a:chExt cx="804758" cy="144689"/>
            </a:xfrm>
          </p:grpSpPr>
          <p:cxnSp>
            <p:nvCxnSpPr>
              <p:cNvPr id="27" name="Straight Connector 26">
                <a:extLst>
                  <a:ext uri="{FF2B5EF4-FFF2-40B4-BE49-F238E27FC236}">
                    <a16:creationId xmlns="" xmlns:a16="http://schemas.microsoft.com/office/drawing/2014/main" id="{227C8DCA-903F-4C67-B2E5-BBFB07BE0B5E}"/>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984C3876-5EB0-4128-941F-A41CFFC48CBF}"/>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05916D17-B1E3-47D4-8BC4-E78AD9A2406F}"/>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65996CCE-39F9-4648-AAA0-7771838961DD}"/>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DD005556-E6E2-4378-A77A-0C37333BCB5D}"/>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45DB8CA1-BE5D-49C2-AECC-FEBF7E156B9B}"/>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grpSp>
      <p:cxnSp>
        <p:nvCxnSpPr>
          <p:cNvPr id="34" name="Straight Connector 33">
            <a:extLst>
              <a:ext uri="{FF2B5EF4-FFF2-40B4-BE49-F238E27FC236}">
                <a16:creationId xmlns="" xmlns:a16="http://schemas.microsoft.com/office/drawing/2014/main" id="{C95E62A0-4FCC-4691-ACFE-6369E85DCC64}"/>
              </a:ext>
            </a:extLst>
          </p:cNvPr>
          <p:cNvCxnSpPr>
            <a:cxnSpLocks/>
          </p:cNvCxnSpPr>
          <p:nvPr/>
        </p:nvCxnSpPr>
        <p:spPr>
          <a:xfrm flipH="1">
            <a:off x="0" y="6250894"/>
            <a:ext cx="76581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 xmlns:a16="http://schemas.microsoft.com/office/drawing/2014/main" id="{EA76E7D3-BCD9-4F70-A292-4D72C36B3256}"/>
              </a:ext>
            </a:extLst>
          </p:cNvPr>
          <p:cNvSpPr/>
          <p:nvPr/>
        </p:nvSpPr>
        <p:spPr>
          <a:xfrm rot="10800000">
            <a:off x="10617200" y="5876240"/>
            <a:ext cx="1041400" cy="1389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1" name="Group 200">
            <a:extLst>
              <a:ext uri="{FF2B5EF4-FFF2-40B4-BE49-F238E27FC236}">
                <a16:creationId xmlns="" xmlns:a16="http://schemas.microsoft.com/office/drawing/2014/main" id="{CB9AEC28-4DD2-4AF7-B14A-B8BFDC0FF766}"/>
              </a:ext>
            </a:extLst>
          </p:cNvPr>
          <p:cNvGrpSpPr/>
          <p:nvPr/>
        </p:nvGrpSpPr>
        <p:grpSpPr>
          <a:xfrm>
            <a:off x="10290370" y="240716"/>
            <a:ext cx="1729654" cy="848268"/>
            <a:chOff x="233739" y="283295"/>
            <a:chExt cx="1729654" cy="848268"/>
          </a:xfrm>
          <a:gradFill>
            <a:gsLst>
              <a:gs pos="100000">
                <a:schemeClr val="accent6"/>
              </a:gs>
              <a:gs pos="0">
                <a:schemeClr val="tx1">
                  <a:alpha val="0"/>
                </a:schemeClr>
              </a:gs>
            </a:gsLst>
            <a:lin ang="0" scaled="1"/>
          </a:gradFill>
        </p:grpSpPr>
        <p:grpSp>
          <p:nvGrpSpPr>
            <p:cNvPr id="202" name="Group 201">
              <a:extLst>
                <a:ext uri="{FF2B5EF4-FFF2-40B4-BE49-F238E27FC236}">
                  <a16:creationId xmlns="" xmlns:a16="http://schemas.microsoft.com/office/drawing/2014/main" id="{44F892CF-B2F9-4C60-A64C-C020A1DC08CA}"/>
                </a:ext>
              </a:extLst>
            </p:cNvPr>
            <p:cNvGrpSpPr/>
            <p:nvPr/>
          </p:nvGrpSpPr>
          <p:grpSpPr>
            <a:xfrm rot="5400000">
              <a:off x="1055270" y="-538236"/>
              <a:ext cx="86591" cy="1729654"/>
              <a:chOff x="85292" y="59892"/>
              <a:chExt cx="86591" cy="1729654"/>
            </a:xfrm>
            <a:grpFill/>
          </p:grpSpPr>
          <p:sp>
            <p:nvSpPr>
              <p:cNvPr id="236" name="Oval 235">
                <a:extLst>
                  <a:ext uri="{FF2B5EF4-FFF2-40B4-BE49-F238E27FC236}">
                    <a16:creationId xmlns="" xmlns:a16="http://schemas.microsoft.com/office/drawing/2014/main" id="{1636E57A-D01D-42A8-BECE-2E96E96C824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a:extLst>
                  <a:ext uri="{FF2B5EF4-FFF2-40B4-BE49-F238E27FC236}">
                    <a16:creationId xmlns="" xmlns:a16="http://schemas.microsoft.com/office/drawing/2014/main" id="{A4C7A418-5239-42DD-9E4D-384ED8AE7AC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Oval 237">
                <a:extLst>
                  <a:ext uri="{FF2B5EF4-FFF2-40B4-BE49-F238E27FC236}">
                    <a16:creationId xmlns="" xmlns:a16="http://schemas.microsoft.com/office/drawing/2014/main" id="{AFFF8417-69BC-41D3-ACF1-13B7971AAD4B}"/>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a:extLst>
                  <a:ext uri="{FF2B5EF4-FFF2-40B4-BE49-F238E27FC236}">
                    <a16:creationId xmlns="" xmlns:a16="http://schemas.microsoft.com/office/drawing/2014/main" id="{A87CBE65-19A3-4566-B00F-5E3C0DD05387}"/>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0" name="Oval 239">
                <a:extLst>
                  <a:ext uri="{FF2B5EF4-FFF2-40B4-BE49-F238E27FC236}">
                    <a16:creationId xmlns="" xmlns:a16="http://schemas.microsoft.com/office/drawing/2014/main" id="{8250676E-96B7-48A4-A22D-99645176680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 xmlns:a16="http://schemas.microsoft.com/office/drawing/2014/main" id="{E30EC6AE-A548-45BE-93D5-E00568BF96C3}"/>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Oval 241">
                <a:extLst>
                  <a:ext uri="{FF2B5EF4-FFF2-40B4-BE49-F238E27FC236}">
                    <a16:creationId xmlns="" xmlns:a16="http://schemas.microsoft.com/office/drawing/2014/main" id="{FF0BF7B9-8999-4FB7-A199-8836519052A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a:extLst>
                  <a:ext uri="{FF2B5EF4-FFF2-40B4-BE49-F238E27FC236}">
                    <a16:creationId xmlns="" xmlns:a16="http://schemas.microsoft.com/office/drawing/2014/main" id="{A9612908-19EB-49EF-B3C7-0E338586477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Oval 243">
                <a:extLst>
                  <a:ext uri="{FF2B5EF4-FFF2-40B4-BE49-F238E27FC236}">
                    <a16:creationId xmlns="" xmlns:a16="http://schemas.microsoft.com/office/drawing/2014/main" id="{5BAC422E-1821-405F-886D-D107218C4DDB}"/>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a:extLst>
                  <a:ext uri="{FF2B5EF4-FFF2-40B4-BE49-F238E27FC236}">
                    <a16:creationId xmlns="" xmlns:a16="http://schemas.microsoft.com/office/drawing/2014/main" id="{2902ED88-79B8-481F-A9A6-3774D2D8B14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3" name="Group 202">
              <a:extLst>
                <a:ext uri="{FF2B5EF4-FFF2-40B4-BE49-F238E27FC236}">
                  <a16:creationId xmlns="" xmlns:a16="http://schemas.microsoft.com/office/drawing/2014/main" id="{328FC026-FCAD-4275-A4DD-2D80918FDE9E}"/>
                </a:ext>
              </a:extLst>
            </p:cNvPr>
            <p:cNvGrpSpPr/>
            <p:nvPr/>
          </p:nvGrpSpPr>
          <p:grpSpPr>
            <a:xfrm rot="5400000">
              <a:off x="1055270" y="-284344"/>
              <a:ext cx="86591" cy="1729654"/>
              <a:chOff x="85292" y="59892"/>
              <a:chExt cx="86591" cy="1729654"/>
            </a:xfrm>
            <a:grpFill/>
          </p:grpSpPr>
          <p:sp>
            <p:nvSpPr>
              <p:cNvPr id="226" name="Oval 225">
                <a:extLst>
                  <a:ext uri="{FF2B5EF4-FFF2-40B4-BE49-F238E27FC236}">
                    <a16:creationId xmlns="" xmlns:a16="http://schemas.microsoft.com/office/drawing/2014/main" id="{6C9A9BF7-B53C-4663-BB99-0780858CFEC6}"/>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a:extLst>
                  <a:ext uri="{FF2B5EF4-FFF2-40B4-BE49-F238E27FC236}">
                    <a16:creationId xmlns="" xmlns:a16="http://schemas.microsoft.com/office/drawing/2014/main" id="{357B376E-C214-4BBB-BB06-B4DD0A2D95C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a:extLst>
                  <a:ext uri="{FF2B5EF4-FFF2-40B4-BE49-F238E27FC236}">
                    <a16:creationId xmlns="" xmlns:a16="http://schemas.microsoft.com/office/drawing/2014/main" id="{7C257949-7C9A-4A30-8AB6-03EDC0DFDDA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a:extLst>
                  <a:ext uri="{FF2B5EF4-FFF2-40B4-BE49-F238E27FC236}">
                    <a16:creationId xmlns="" xmlns:a16="http://schemas.microsoft.com/office/drawing/2014/main" id="{6709F7C6-6CF6-4A94-B3C1-05DB813812E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0" name="Oval 229">
                <a:extLst>
                  <a:ext uri="{FF2B5EF4-FFF2-40B4-BE49-F238E27FC236}">
                    <a16:creationId xmlns="" xmlns:a16="http://schemas.microsoft.com/office/drawing/2014/main" id="{0A2508DB-5B97-41C3-BBA6-50B2C1C8A47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a:extLst>
                  <a:ext uri="{FF2B5EF4-FFF2-40B4-BE49-F238E27FC236}">
                    <a16:creationId xmlns="" xmlns:a16="http://schemas.microsoft.com/office/drawing/2014/main" id="{7F0F9A97-F3D9-43B4-A574-8DF8EC2FE52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 xmlns:a16="http://schemas.microsoft.com/office/drawing/2014/main" id="{1F73DA61-197D-4896-9EC5-D1F399DD00A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 xmlns:a16="http://schemas.microsoft.com/office/drawing/2014/main" id="{3CAD2D7B-E6A9-45B0-BE38-FF18F376A3B3}"/>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 xmlns:a16="http://schemas.microsoft.com/office/drawing/2014/main" id="{6F316F40-564E-4A86-ADCF-9B3B4887AF4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 xmlns:a16="http://schemas.microsoft.com/office/drawing/2014/main" id="{B310F663-EB9F-48B5-A17E-4D9EC6FE41D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4" name="Group 203">
              <a:extLst>
                <a:ext uri="{FF2B5EF4-FFF2-40B4-BE49-F238E27FC236}">
                  <a16:creationId xmlns="" xmlns:a16="http://schemas.microsoft.com/office/drawing/2014/main" id="{73AD6FC6-5D34-4AEB-A13B-5E0CE8301204}"/>
                </a:ext>
              </a:extLst>
            </p:cNvPr>
            <p:cNvGrpSpPr/>
            <p:nvPr/>
          </p:nvGrpSpPr>
          <p:grpSpPr>
            <a:xfrm rot="5400000">
              <a:off x="1055270" y="-30452"/>
              <a:ext cx="86591" cy="1729654"/>
              <a:chOff x="85292" y="59892"/>
              <a:chExt cx="86591" cy="1729654"/>
            </a:xfrm>
            <a:grpFill/>
          </p:grpSpPr>
          <p:sp>
            <p:nvSpPr>
              <p:cNvPr id="216" name="Oval 215">
                <a:extLst>
                  <a:ext uri="{FF2B5EF4-FFF2-40B4-BE49-F238E27FC236}">
                    <a16:creationId xmlns="" xmlns:a16="http://schemas.microsoft.com/office/drawing/2014/main" id="{E7181845-BDF5-4124-98D1-7D2E837C86A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 xmlns:a16="http://schemas.microsoft.com/office/drawing/2014/main" id="{372215F4-20D9-47C7-9D8A-B911901699A0}"/>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 xmlns:a16="http://schemas.microsoft.com/office/drawing/2014/main" id="{919A75B5-0D9A-4964-B898-272C914C7D2C}"/>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 xmlns:a16="http://schemas.microsoft.com/office/drawing/2014/main" id="{98778C59-3501-4265-8D7C-81BA82E9171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a:extLst>
                  <a:ext uri="{FF2B5EF4-FFF2-40B4-BE49-F238E27FC236}">
                    <a16:creationId xmlns="" xmlns:a16="http://schemas.microsoft.com/office/drawing/2014/main" id="{4ADECC65-B551-4EA0-B657-DA7E021D2EA7}"/>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 xmlns:a16="http://schemas.microsoft.com/office/drawing/2014/main" id="{2B1BEDA6-DDCA-4B16-AF8C-3473A6DA17DD}"/>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 xmlns:a16="http://schemas.microsoft.com/office/drawing/2014/main" id="{E7DB1866-E957-4D4C-9028-42C9E8C3530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a:extLst>
                  <a:ext uri="{FF2B5EF4-FFF2-40B4-BE49-F238E27FC236}">
                    <a16:creationId xmlns="" xmlns:a16="http://schemas.microsoft.com/office/drawing/2014/main" id="{1D1D147E-61D0-4678-8976-766319C1E54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Oval 223">
                <a:extLst>
                  <a:ext uri="{FF2B5EF4-FFF2-40B4-BE49-F238E27FC236}">
                    <a16:creationId xmlns="" xmlns:a16="http://schemas.microsoft.com/office/drawing/2014/main" id="{1D864666-F2A0-4281-B553-760A9C0AAC36}"/>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a:extLst>
                  <a:ext uri="{FF2B5EF4-FFF2-40B4-BE49-F238E27FC236}">
                    <a16:creationId xmlns="" xmlns:a16="http://schemas.microsoft.com/office/drawing/2014/main" id="{3C16FE37-8F27-4C65-8E06-C67823D23AEB}"/>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5" name="Group 204">
              <a:extLst>
                <a:ext uri="{FF2B5EF4-FFF2-40B4-BE49-F238E27FC236}">
                  <a16:creationId xmlns="" xmlns:a16="http://schemas.microsoft.com/office/drawing/2014/main" id="{DFCF223C-F9BA-4462-8652-CDBD974886FD}"/>
                </a:ext>
              </a:extLst>
            </p:cNvPr>
            <p:cNvGrpSpPr/>
            <p:nvPr/>
          </p:nvGrpSpPr>
          <p:grpSpPr>
            <a:xfrm rot="5400000">
              <a:off x="1055270" y="223441"/>
              <a:ext cx="86591" cy="1729654"/>
              <a:chOff x="85292" y="59892"/>
              <a:chExt cx="86591" cy="1729654"/>
            </a:xfrm>
            <a:grpFill/>
          </p:grpSpPr>
          <p:sp>
            <p:nvSpPr>
              <p:cNvPr id="206" name="Oval 205">
                <a:extLst>
                  <a:ext uri="{FF2B5EF4-FFF2-40B4-BE49-F238E27FC236}">
                    <a16:creationId xmlns="" xmlns:a16="http://schemas.microsoft.com/office/drawing/2014/main" id="{A47014D9-30E2-4267-8FBD-224AC2DDC029}"/>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a:extLst>
                  <a:ext uri="{FF2B5EF4-FFF2-40B4-BE49-F238E27FC236}">
                    <a16:creationId xmlns="" xmlns:a16="http://schemas.microsoft.com/office/drawing/2014/main" id="{1CF3F0B9-1357-453B-8A6C-9076486848B6}"/>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Oval 207">
                <a:extLst>
                  <a:ext uri="{FF2B5EF4-FFF2-40B4-BE49-F238E27FC236}">
                    <a16:creationId xmlns="" xmlns:a16="http://schemas.microsoft.com/office/drawing/2014/main" id="{4CA33328-A29D-45EC-8253-B03112D04367}"/>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a:extLst>
                  <a:ext uri="{FF2B5EF4-FFF2-40B4-BE49-F238E27FC236}">
                    <a16:creationId xmlns="" xmlns:a16="http://schemas.microsoft.com/office/drawing/2014/main" id="{B7A888BB-F40A-4C6C-AE9F-78119CF16EB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 xmlns:a16="http://schemas.microsoft.com/office/drawing/2014/main" id="{FC8C9E97-7C06-4BF5-83BD-75A91EB92DB8}"/>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 xmlns:a16="http://schemas.microsoft.com/office/drawing/2014/main" id="{13E7E242-F155-4DFE-820E-C93D00D375E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Oval 211">
                <a:extLst>
                  <a:ext uri="{FF2B5EF4-FFF2-40B4-BE49-F238E27FC236}">
                    <a16:creationId xmlns="" xmlns:a16="http://schemas.microsoft.com/office/drawing/2014/main" id="{777D2170-A5A1-494F-9C37-D3D66C7263B7}"/>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a:extLst>
                  <a:ext uri="{FF2B5EF4-FFF2-40B4-BE49-F238E27FC236}">
                    <a16:creationId xmlns="" xmlns:a16="http://schemas.microsoft.com/office/drawing/2014/main" id="{335D64E3-26E6-4435-9FBE-356D09886481}"/>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 xmlns:a16="http://schemas.microsoft.com/office/drawing/2014/main" id="{FE82067F-FB23-4985-8F9F-955C80702EC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 xmlns:a16="http://schemas.microsoft.com/office/drawing/2014/main" id="{20A3F1CA-5E31-4681-9C26-CC4DF141494A}"/>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46" name="Straight Connector 245">
            <a:extLst>
              <a:ext uri="{FF2B5EF4-FFF2-40B4-BE49-F238E27FC236}">
                <a16:creationId xmlns="" xmlns:a16="http://schemas.microsoft.com/office/drawing/2014/main" id="{1C15D581-D6A8-418B-AE07-54726A0837AF}"/>
              </a:ext>
            </a:extLst>
          </p:cNvPr>
          <p:cNvCxnSpPr>
            <a:cxnSpLocks/>
          </p:cNvCxnSpPr>
          <p:nvPr/>
        </p:nvCxnSpPr>
        <p:spPr>
          <a:xfrm flipH="1">
            <a:off x="0" y="6530294"/>
            <a:ext cx="5461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24" name="Group 123"/>
          <p:cNvGrpSpPr/>
          <p:nvPr/>
        </p:nvGrpSpPr>
        <p:grpSpPr>
          <a:xfrm>
            <a:off x="247187" y="212270"/>
            <a:ext cx="4785616" cy="647452"/>
            <a:chOff x="319878" y="3998260"/>
            <a:chExt cx="4785616" cy="647452"/>
          </a:xfrm>
        </p:grpSpPr>
        <p:sp>
          <p:nvSpPr>
            <p:cNvPr id="125" name="Rectangle 124">
              <a:extLst>
                <a:ext uri="{FF2B5EF4-FFF2-40B4-BE49-F238E27FC236}">
                  <a16:creationId xmlns="" xmlns:a16="http://schemas.microsoft.com/office/drawing/2014/main" id="{741F1DEF-32DD-40D0-B63D-396863A5080A}"/>
                </a:ext>
              </a:extLst>
            </p:cNvPr>
            <p:cNvSpPr/>
            <p:nvPr/>
          </p:nvSpPr>
          <p:spPr>
            <a:xfrm>
              <a:off x="319878" y="4021527"/>
              <a:ext cx="4422107" cy="442804"/>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Title 1"/>
            <p:cNvSpPr txBox="1">
              <a:spLocks/>
            </p:cNvSpPr>
            <p:nvPr/>
          </p:nvSpPr>
          <p:spPr>
            <a:xfrm>
              <a:off x="319879" y="3998260"/>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id-ID" sz="3200" dirty="0" smtClean="0"/>
                <a:t>Class Diagram </a:t>
              </a:r>
              <a:endParaRPr lang="en-US" sz="3200" dirty="0"/>
            </a:p>
          </p:txBody>
        </p:sp>
      </p:grpSp>
      <p:pic>
        <p:nvPicPr>
          <p:cNvPr id="21505" name="Picture 1"/>
          <p:cNvPicPr>
            <a:picLocks noChangeAspect="1" noChangeArrowheads="1"/>
          </p:cNvPicPr>
          <p:nvPr/>
        </p:nvPicPr>
        <p:blipFill>
          <a:blip r:embed="rId5"/>
          <a:srcRect l="16040" t="3685" r="15170"/>
          <a:stretch>
            <a:fillRect/>
          </a:stretch>
        </p:blipFill>
        <p:spPr bwMode="auto">
          <a:xfrm>
            <a:off x="318655" y="789710"/>
            <a:ext cx="4548554" cy="5375564"/>
          </a:xfrm>
          <a:prstGeom prst="rect">
            <a:avLst/>
          </a:prstGeom>
          <a:noFill/>
          <a:ln w="9525">
            <a:noFill/>
            <a:miter lim="800000"/>
            <a:headEnd/>
            <a:tailEnd/>
          </a:ln>
        </p:spPr>
      </p:pic>
    </p:spTree>
    <p:extLst>
      <p:ext uri="{BB962C8B-B14F-4D97-AF65-F5344CB8AC3E}">
        <p14:creationId xmlns="" xmlns:p14="http://schemas.microsoft.com/office/powerpoint/2010/main" val="37937096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6A22DA84-B91B-CD43-8F58-19BCA1F1F1BE}"/>
              </a:ext>
            </a:extLst>
          </p:cNvPr>
          <p:cNvPicPr>
            <a:picLocks noChangeAspect="1"/>
          </p:cNvPicPr>
          <p:nvPr/>
        </p:nvPicPr>
        <p:blipFill rotWithShape="1">
          <a:blip r:embed="rId3">
            <a:extLst>
              <a:ext uri="{BEBA8EAE-BF5A-486C-A8C5-ECC9F3942E4B}">
                <a14:imgProps xmlns="" xmlns:a14="http://schemas.microsoft.com/office/drawing/2010/main">
                  <a14:imgLayer r:embed="rId4">
                    <a14:imgEffect>
                      <a14:saturation sat="0"/>
                    </a14:imgEffect>
                  </a14:imgLayer>
                </a14:imgProps>
              </a:ext>
              <a:ext uri="{28A0092B-C50C-407E-A947-70E740481C1C}">
                <a14:useLocalDpi xmlns="" xmlns:a14="http://schemas.microsoft.com/office/drawing/2010/main" val="0"/>
              </a:ext>
            </a:extLst>
          </a:blip>
          <a:srcRect t="4102" b="11522"/>
          <a:stretch/>
        </p:blipFill>
        <p:spPr>
          <a:xfrm>
            <a:off x="0" y="0"/>
            <a:ext cx="12192000" cy="6858000"/>
          </a:xfrm>
          <a:prstGeom prst="rect">
            <a:avLst/>
          </a:prstGeom>
        </p:spPr>
      </p:pic>
      <p:sp>
        <p:nvSpPr>
          <p:cNvPr id="3" name="Rectangle 2">
            <a:extLst>
              <a:ext uri="{FF2B5EF4-FFF2-40B4-BE49-F238E27FC236}">
                <a16:creationId xmlns="" xmlns:a16="http://schemas.microsoft.com/office/drawing/2014/main" id="{FA1AF8F0-1614-0C43-ABF1-41F638505555}"/>
              </a:ext>
            </a:extLst>
          </p:cNvPr>
          <p:cNvSpPr/>
          <p:nvPr/>
        </p:nvSpPr>
        <p:spPr>
          <a:xfrm>
            <a:off x="0" y="0"/>
            <a:ext cx="12192000" cy="6858000"/>
          </a:xfrm>
          <a:prstGeom prst="rect">
            <a:avLst/>
          </a:prstGeom>
          <a:gradFill flip="none" rotWithShape="1">
            <a:gsLst>
              <a:gs pos="0">
                <a:schemeClr val="tx1">
                  <a:alpha val="93000"/>
                </a:schemeClr>
              </a:gs>
              <a:gs pos="100000">
                <a:schemeClr val="tx1">
                  <a:alpha val="95000"/>
                </a:schemeClr>
              </a:gs>
              <a:gs pos="49000">
                <a:schemeClr val="tx1">
                  <a:alpha val="77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eform 70">
            <a:extLst>
              <a:ext uri="{FF2B5EF4-FFF2-40B4-BE49-F238E27FC236}">
                <a16:creationId xmlns="" xmlns:a16="http://schemas.microsoft.com/office/drawing/2014/main" id="{46DD3116-A2A1-954B-9C2E-9E657E204095}"/>
              </a:ext>
            </a:extLst>
          </p:cNvPr>
          <p:cNvSpPr/>
          <p:nvPr/>
        </p:nvSpPr>
        <p:spPr>
          <a:xfrm>
            <a:off x="533400" y="5502301"/>
            <a:ext cx="2147156" cy="1355698"/>
          </a:xfrm>
          <a:custGeom>
            <a:avLst/>
            <a:gdLst>
              <a:gd name="connsiteX0" fmla="*/ 1073578 w 2147156"/>
              <a:gd name="connsiteY0" fmla="*/ 0 h 1355698"/>
              <a:gd name="connsiteX1" fmla="*/ 2147156 w 2147156"/>
              <a:gd name="connsiteY1" fmla="*/ 1073578 h 1355698"/>
              <a:gd name="connsiteX2" fmla="*/ 2125345 w 2147156"/>
              <a:gd name="connsiteY2" fmla="*/ 1289942 h 1355698"/>
              <a:gd name="connsiteX3" fmla="*/ 2104933 w 2147156"/>
              <a:gd name="connsiteY3" fmla="*/ 1355698 h 1355698"/>
              <a:gd name="connsiteX4" fmla="*/ 42224 w 2147156"/>
              <a:gd name="connsiteY4" fmla="*/ 1355698 h 1355698"/>
              <a:gd name="connsiteX5" fmla="*/ 21812 w 2147156"/>
              <a:gd name="connsiteY5" fmla="*/ 1289942 h 1355698"/>
              <a:gd name="connsiteX6" fmla="*/ 0 w 2147156"/>
              <a:gd name="connsiteY6" fmla="*/ 1073578 h 1355698"/>
              <a:gd name="connsiteX7" fmla="*/ 1073578 w 2147156"/>
              <a:gd name="connsiteY7" fmla="*/ 0 h 1355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7156" h="1355698">
                <a:moveTo>
                  <a:pt x="1073578" y="0"/>
                </a:moveTo>
                <a:cubicBezTo>
                  <a:pt x="1666499" y="0"/>
                  <a:pt x="2147156" y="480657"/>
                  <a:pt x="2147156" y="1073578"/>
                </a:cubicBezTo>
                <a:cubicBezTo>
                  <a:pt x="2147156" y="1147693"/>
                  <a:pt x="2139646" y="1220054"/>
                  <a:pt x="2125345" y="1289942"/>
                </a:cubicBezTo>
                <a:lnTo>
                  <a:pt x="2104933" y="1355698"/>
                </a:lnTo>
                <a:lnTo>
                  <a:pt x="42224" y="1355698"/>
                </a:lnTo>
                <a:lnTo>
                  <a:pt x="21812" y="1289942"/>
                </a:lnTo>
                <a:cubicBezTo>
                  <a:pt x="7511" y="1220054"/>
                  <a:pt x="0" y="1147693"/>
                  <a:pt x="0" y="1073578"/>
                </a:cubicBezTo>
                <a:cubicBezTo>
                  <a:pt x="0" y="480657"/>
                  <a:pt x="480657" y="0"/>
                  <a:pt x="1073578" y="0"/>
                </a:cubicBezTo>
                <a:close/>
              </a:path>
            </a:pathLst>
          </a:custGeom>
          <a:pattFill prst="dkUpDiag">
            <a:fgClr>
              <a:schemeClr val="accent6"/>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Oval 4">
            <a:extLst>
              <a:ext uri="{FF2B5EF4-FFF2-40B4-BE49-F238E27FC236}">
                <a16:creationId xmlns="" xmlns:a16="http://schemas.microsoft.com/office/drawing/2014/main" id="{685D2FA9-8199-9B4A-BE4B-B833F91F7241}"/>
              </a:ext>
            </a:extLst>
          </p:cNvPr>
          <p:cNvSpPr/>
          <p:nvPr/>
        </p:nvSpPr>
        <p:spPr>
          <a:xfrm>
            <a:off x="1071689" y="4967012"/>
            <a:ext cx="1070578" cy="107057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 xmlns:a16="http://schemas.microsoft.com/office/drawing/2014/main" id="{E947F8F6-8150-8D47-A50A-67ED356EC45C}"/>
              </a:ext>
            </a:extLst>
          </p:cNvPr>
          <p:cNvGrpSpPr/>
          <p:nvPr/>
        </p:nvGrpSpPr>
        <p:grpSpPr>
          <a:xfrm rot="16200000">
            <a:off x="10369639" y="968209"/>
            <a:ext cx="1729654" cy="848268"/>
            <a:chOff x="233739" y="283295"/>
            <a:chExt cx="1729654" cy="848268"/>
          </a:xfrm>
          <a:gradFill>
            <a:gsLst>
              <a:gs pos="100000">
                <a:schemeClr val="accent6"/>
              </a:gs>
              <a:gs pos="0">
                <a:schemeClr val="tx1">
                  <a:alpha val="0"/>
                </a:schemeClr>
              </a:gs>
            </a:gsLst>
            <a:lin ang="0" scaled="1"/>
          </a:gradFill>
        </p:grpSpPr>
        <p:grpSp>
          <p:nvGrpSpPr>
            <p:cNvPr id="12" name="Group 11">
              <a:extLst>
                <a:ext uri="{FF2B5EF4-FFF2-40B4-BE49-F238E27FC236}">
                  <a16:creationId xmlns="" xmlns:a16="http://schemas.microsoft.com/office/drawing/2014/main" id="{98C4EE4F-5F44-BF4E-BDA3-ED06FB653C6D}"/>
                </a:ext>
              </a:extLst>
            </p:cNvPr>
            <p:cNvGrpSpPr/>
            <p:nvPr/>
          </p:nvGrpSpPr>
          <p:grpSpPr>
            <a:xfrm rot="5400000">
              <a:off x="1055270" y="-538236"/>
              <a:ext cx="86591" cy="1729654"/>
              <a:chOff x="85292" y="59892"/>
              <a:chExt cx="86591" cy="1729654"/>
            </a:xfrm>
            <a:grpFill/>
          </p:grpSpPr>
          <p:sp>
            <p:nvSpPr>
              <p:cNvPr id="46" name="Oval 45">
                <a:extLst>
                  <a:ext uri="{FF2B5EF4-FFF2-40B4-BE49-F238E27FC236}">
                    <a16:creationId xmlns="" xmlns:a16="http://schemas.microsoft.com/office/drawing/2014/main" id="{6E453E70-BF51-8847-AA73-80B532CAFD0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 xmlns:a16="http://schemas.microsoft.com/office/drawing/2014/main" id="{2E8337BE-8A05-7847-A3F9-3A2DE3B3F17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 xmlns:a16="http://schemas.microsoft.com/office/drawing/2014/main" id="{2A09BAE2-CB14-0943-AEC2-985B550FB2D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 xmlns:a16="http://schemas.microsoft.com/office/drawing/2014/main" id="{01E4245E-61D4-734F-B526-D15D7BFD44E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 xmlns:a16="http://schemas.microsoft.com/office/drawing/2014/main" id="{96E17998-9359-9941-98AE-931578E76F54}"/>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 xmlns:a16="http://schemas.microsoft.com/office/drawing/2014/main" id="{50A381E0-03E3-1C45-9A27-4EBAC001352B}"/>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 xmlns:a16="http://schemas.microsoft.com/office/drawing/2014/main" id="{016520B5-967E-7345-B04C-FE001F3EAB22}"/>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 xmlns:a16="http://schemas.microsoft.com/office/drawing/2014/main" id="{F5E47508-E8B0-D14B-8AE7-765395822D3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 xmlns:a16="http://schemas.microsoft.com/office/drawing/2014/main" id="{F8F96DB1-9537-8045-A358-2DDF8CD2A26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 xmlns:a16="http://schemas.microsoft.com/office/drawing/2014/main" id="{663C7C44-39D6-FF46-AC66-CC44A2DBD743}"/>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 xmlns:a16="http://schemas.microsoft.com/office/drawing/2014/main" id="{04623F9E-D2B5-D143-9AA7-DFF9EDEF7C92}"/>
                </a:ext>
              </a:extLst>
            </p:cNvPr>
            <p:cNvGrpSpPr/>
            <p:nvPr/>
          </p:nvGrpSpPr>
          <p:grpSpPr>
            <a:xfrm rot="5400000">
              <a:off x="1055270" y="-284344"/>
              <a:ext cx="86591" cy="1729654"/>
              <a:chOff x="85292" y="59892"/>
              <a:chExt cx="86591" cy="1729654"/>
            </a:xfrm>
            <a:grpFill/>
          </p:grpSpPr>
          <p:sp>
            <p:nvSpPr>
              <p:cNvPr id="36" name="Oval 35">
                <a:extLst>
                  <a:ext uri="{FF2B5EF4-FFF2-40B4-BE49-F238E27FC236}">
                    <a16:creationId xmlns="" xmlns:a16="http://schemas.microsoft.com/office/drawing/2014/main" id="{763554EB-9A6E-9347-8923-F3E012A6B0F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 xmlns:a16="http://schemas.microsoft.com/office/drawing/2014/main" id="{4470FDF8-325F-274A-9656-5B2881D25FF3}"/>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 xmlns:a16="http://schemas.microsoft.com/office/drawing/2014/main" id="{A80DCA34-32A1-4948-AE2B-DF62A620896D}"/>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 xmlns:a16="http://schemas.microsoft.com/office/drawing/2014/main" id="{1CC35BE3-2F0F-624B-8F38-94141F492BC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 xmlns:a16="http://schemas.microsoft.com/office/drawing/2014/main" id="{965A7879-F9E6-834A-A297-6C9A068DA2D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 xmlns:a16="http://schemas.microsoft.com/office/drawing/2014/main" id="{81406F3C-3EF2-1E42-BDBD-9D92D55F829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 xmlns:a16="http://schemas.microsoft.com/office/drawing/2014/main" id="{3CB10D75-CD94-7E49-ADFD-2AD53FE0088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 xmlns:a16="http://schemas.microsoft.com/office/drawing/2014/main" id="{5B2FC0DE-B888-614B-9BC1-6D472D4A7264}"/>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 xmlns:a16="http://schemas.microsoft.com/office/drawing/2014/main" id="{814D730F-663D-A348-80D7-8508CA3E6C7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 xmlns:a16="http://schemas.microsoft.com/office/drawing/2014/main" id="{FAC79C28-87DE-7C4A-9C4B-5101A9B94768}"/>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 xmlns:a16="http://schemas.microsoft.com/office/drawing/2014/main" id="{2E5603E1-A786-2B48-8EF5-5C8D8CFAE179}"/>
                </a:ext>
              </a:extLst>
            </p:cNvPr>
            <p:cNvGrpSpPr/>
            <p:nvPr/>
          </p:nvGrpSpPr>
          <p:grpSpPr>
            <a:xfrm rot="5400000">
              <a:off x="1055270" y="-30452"/>
              <a:ext cx="86591" cy="1729654"/>
              <a:chOff x="85292" y="59892"/>
              <a:chExt cx="86591" cy="1729654"/>
            </a:xfrm>
            <a:grpFill/>
          </p:grpSpPr>
          <p:sp>
            <p:nvSpPr>
              <p:cNvPr id="26" name="Oval 25">
                <a:extLst>
                  <a:ext uri="{FF2B5EF4-FFF2-40B4-BE49-F238E27FC236}">
                    <a16:creationId xmlns="" xmlns:a16="http://schemas.microsoft.com/office/drawing/2014/main" id="{B79BCF63-DEFA-9D47-AC6D-5F62355B9230}"/>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 xmlns:a16="http://schemas.microsoft.com/office/drawing/2014/main" id="{0B150B1E-465E-5745-BCDF-3A163D720511}"/>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 xmlns:a16="http://schemas.microsoft.com/office/drawing/2014/main" id="{3D2B3F97-D8B3-9440-B32F-0D44023A45D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 xmlns:a16="http://schemas.microsoft.com/office/drawing/2014/main" id="{7D5430A7-8E07-6040-A888-771CC57A9CB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 xmlns:a16="http://schemas.microsoft.com/office/drawing/2014/main" id="{8E7453AD-756C-7840-90DF-BC32F20A94A0}"/>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 xmlns:a16="http://schemas.microsoft.com/office/drawing/2014/main" id="{894FBA40-E8D4-F844-B2FA-6FE1FBAABA4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 xmlns:a16="http://schemas.microsoft.com/office/drawing/2014/main" id="{787BEF26-7693-6C4A-B5A9-E602B97E0739}"/>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 xmlns:a16="http://schemas.microsoft.com/office/drawing/2014/main" id="{C3FBEE5B-FB6F-514D-83AD-82F5F747E06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 xmlns:a16="http://schemas.microsoft.com/office/drawing/2014/main" id="{B0FE0A60-4315-EB44-BF3E-B7ECFA570B81}"/>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 xmlns:a16="http://schemas.microsoft.com/office/drawing/2014/main" id="{8BCB9361-9641-BE44-9F72-D5BA97313EC4}"/>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 xmlns:a16="http://schemas.microsoft.com/office/drawing/2014/main" id="{6F2CC866-5034-784D-A764-BA743ABB27B6}"/>
                </a:ext>
              </a:extLst>
            </p:cNvPr>
            <p:cNvGrpSpPr/>
            <p:nvPr/>
          </p:nvGrpSpPr>
          <p:grpSpPr>
            <a:xfrm rot="5400000">
              <a:off x="1055270" y="223441"/>
              <a:ext cx="86591" cy="1729654"/>
              <a:chOff x="85292" y="59892"/>
              <a:chExt cx="86591" cy="1729654"/>
            </a:xfrm>
            <a:grpFill/>
          </p:grpSpPr>
          <p:sp>
            <p:nvSpPr>
              <p:cNvPr id="16" name="Oval 15">
                <a:extLst>
                  <a:ext uri="{FF2B5EF4-FFF2-40B4-BE49-F238E27FC236}">
                    <a16:creationId xmlns="" xmlns:a16="http://schemas.microsoft.com/office/drawing/2014/main" id="{5DCE7480-432A-5042-81CA-81FEABAA1B0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 xmlns:a16="http://schemas.microsoft.com/office/drawing/2014/main" id="{2A0342B2-5EB4-B54C-B205-F06649EB7958}"/>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 xmlns:a16="http://schemas.microsoft.com/office/drawing/2014/main" id="{6468AA06-93DB-BA42-9A41-1490228440B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 xmlns:a16="http://schemas.microsoft.com/office/drawing/2014/main" id="{248DD3B6-5B06-504D-949F-77F94FCF6C48}"/>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 xmlns:a16="http://schemas.microsoft.com/office/drawing/2014/main" id="{FCB91D84-0E08-4245-B805-B744B1290B39}"/>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 xmlns:a16="http://schemas.microsoft.com/office/drawing/2014/main" id="{1E0F4C35-D658-6748-9D6F-0F104BB8A795}"/>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 xmlns:a16="http://schemas.microsoft.com/office/drawing/2014/main" id="{1DA6A7D2-B516-3C4F-9253-6EEF581AA156}"/>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 xmlns:a16="http://schemas.microsoft.com/office/drawing/2014/main" id="{ADCE85E0-11D8-4D4A-A1DB-F0D741E3CF9E}"/>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 xmlns:a16="http://schemas.microsoft.com/office/drawing/2014/main" id="{6A566126-4BB0-9F49-ADAE-BEC96F26DF6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 xmlns:a16="http://schemas.microsoft.com/office/drawing/2014/main" id="{646EAA6E-C917-DB4D-A783-434D0CC6F3C0}"/>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6" name="Oval 55">
            <a:extLst>
              <a:ext uri="{FF2B5EF4-FFF2-40B4-BE49-F238E27FC236}">
                <a16:creationId xmlns="" xmlns:a16="http://schemas.microsoft.com/office/drawing/2014/main" id="{FD691B93-BF1F-E740-8DC6-C8BADC354CDB}"/>
              </a:ext>
            </a:extLst>
          </p:cNvPr>
          <p:cNvSpPr/>
          <p:nvPr/>
        </p:nvSpPr>
        <p:spPr>
          <a:xfrm>
            <a:off x="-758758" y="4221804"/>
            <a:ext cx="4731472" cy="4731472"/>
          </a:xfrm>
          <a:prstGeom prst="ellipse">
            <a:avLst/>
          </a:pr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1" name="Group 60">
            <a:extLst>
              <a:ext uri="{FF2B5EF4-FFF2-40B4-BE49-F238E27FC236}">
                <a16:creationId xmlns="" xmlns:a16="http://schemas.microsoft.com/office/drawing/2014/main" id="{CA219798-1F13-7349-A35C-991813EA3A66}"/>
              </a:ext>
            </a:extLst>
          </p:cNvPr>
          <p:cNvGrpSpPr/>
          <p:nvPr/>
        </p:nvGrpSpPr>
        <p:grpSpPr>
          <a:xfrm>
            <a:off x="4506114" y="6103711"/>
            <a:ext cx="804758" cy="144689"/>
            <a:chOff x="4455886" y="479425"/>
            <a:chExt cx="804758" cy="144689"/>
          </a:xfrm>
        </p:grpSpPr>
        <p:cxnSp>
          <p:nvCxnSpPr>
            <p:cNvPr id="62" name="Straight Connector 61">
              <a:extLst>
                <a:ext uri="{FF2B5EF4-FFF2-40B4-BE49-F238E27FC236}">
                  <a16:creationId xmlns="" xmlns:a16="http://schemas.microsoft.com/office/drawing/2014/main" id="{1EFFE08F-1DF3-D542-B05D-ECCC7B8C685B}"/>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 xmlns:a16="http://schemas.microsoft.com/office/drawing/2014/main" id="{D021490F-F5AC-6E49-82D1-A1B5F2595ADF}"/>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 xmlns:a16="http://schemas.microsoft.com/office/drawing/2014/main" id="{210A19DE-8BAB-E440-908E-095411DAAD04}"/>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 xmlns:a16="http://schemas.microsoft.com/office/drawing/2014/main" id="{5874A885-6E8A-0F42-9622-8B96E8DC6950}"/>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 xmlns:a16="http://schemas.microsoft.com/office/drawing/2014/main" id="{AC564DD1-E623-1D49-BC85-489F41E9E20C}"/>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 xmlns:a16="http://schemas.microsoft.com/office/drawing/2014/main" id="{5CDC93A0-5606-C349-82CF-64D2F98ECFEF}"/>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69" name="Straight Connector 68">
            <a:extLst>
              <a:ext uri="{FF2B5EF4-FFF2-40B4-BE49-F238E27FC236}">
                <a16:creationId xmlns="" xmlns:a16="http://schemas.microsoft.com/office/drawing/2014/main" id="{1F25E223-7EBA-5D43-A579-49B87D6A55AD}"/>
              </a:ext>
            </a:extLst>
          </p:cNvPr>
          <p:cNvCxnSpPr>
            <a:cxnSpLocks/>
          </p:cNvCxnSpPr>
          <p:nvPr/>
        </p:nvCxnSpPr>
        <p:spPr>
          <a:xfrm>
            <a:off x="5581650" y="6176055"/>
            <a:ext cx="66103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68" name="Group 67"/>
          <p:cNvGrpSpPr/>
          <p:nvPr/>
        </p:nvGrpSpPr>
        <p:grpSpPr>
          <a:xfrm>
            <a:off x="385563" y="290965"/>
            <a:ext cx="6333892" cy="647452"/>
            <a:chOff x="319878" y="3998260"/>
            <a:chExt cx="4785616" cy="647452"/>
          </a:xfrm>
        </p:grpSpPr>
        <p:sp>
          <p:nvSpPr>
            <p:cNvPr id="70" name="Rectangle 69">
              <a:extLst>
                <a:ext uri="{FF2B5EF4-FFF2-40B4-BE49-F238E27FC236}">
                  <a16:creationId xmlns="" xmlns:a16="http://schemas.microsoft.com/office/drawing/2014/main" id="{741F1DEF-32DD-40D0-B63D-396863A5080A}"/>
                </a:ext>
              </a:extLst>
            </p:cNvPr>
            <p:cNvSpPr/>
            <p:nvPr/>
          </p:nvSpPr>
          <p:spPr>
            <a:xfrm>
              <a:off x="319878" y="4021527"/>
              <a:ext cx="4422107" cy="442804"/>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itle 1"/>
            <p:cNvSpPr txBox="1">
              <a:spLocks/>
            </p:cNvSpPr>
            <p:nvPr/>
          </p:nvSpPr>
          <p:spPr>
            <a:xfrm>
              <a:off x="319879" y="3998260"/>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en-US" sz="3200" dirty="0" smtClean="0">
                  <a:latin typeface="+mn-lt"/>
                </a:rPr>
                <a:t>Entity Relationship Diagram </a:t>
              </a:r>
              <a:endParaRPr lang="en-US" sz="3200" dirty="0">
                <a:latin typeface="+mn-lt"/>
              </a:endParaRPr>
            </a:p>
          </p:txBody>
        </p:sp>
      </p:grpSp>
      <p:pic>
        <p:nvPicPr>
          <p:cNvPr id="19457" name="Picture 1"/>
          <p:cNvPicPr>
            <a:picLocks noChangeAspect="1" noChangeArrowheads="1"/>
          </p:cNvPicPr>
          <p:nvPr/>
        </p:nvPicPr>
        <p:blipFill>
          <a:blip r:embed="rId5"/>
          <a:srcRect l="2986" t="9566" r="706"/>
          <a:stretch>
            <a:fillRect/>
          </a:stretch>
        </p:blipFill>
        <p:spPr bwMode="auto">
          <a:xfrm>
            <a:off x="360217" y="928256"/>
            <a:ext cx="10012754" cy="4876800"/>
          </a:xfrm>
          <a:prstGeom prst="rect">
            <a:avLst/>
          </a:prstGeom>
          <a:noFill/>
          <a:ln w="9525">
            <a:noFill/>
            <a:miter lim="800000"/>
            <a:headEnd/>
            <a:tailEnd/>
          </a:ln>
        </p:spPr>
      </p:pic>
    </p:spTree>
    <p:extLst>
      <p:ext uri="{BB962C8B-B14F-4D97-AF65-F5344CB8AC3E}">
        <p14:creationId xmlns="" xmlns:p14="http://schemas.microsoft.com/office/powerpoint/2010/main" val="14803811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 xmlns:a16="http://schemas.microsoft.com/office/drawing/2014/main" id="{C02AA717-9E0F-1E44-BB08-3BFEA555F22F}"/>
              </a:ext>
            </a:extLst>
          </p:cNvPr>
          <p:cNvGraphicFramePr>
            <a:graphicFrameLocks noChangeAspect="1"/>
          </p:cNvGraphicFramePr>
          <p:nvPr>
            <p:custDataLst>
              <p:tags r:id="rId2"/>
            </p:custDataLst>
            <p:extLst>
              <p:ext uri="{D42A27DB-BD31-4B8C-83A1-F6EECF244321}">
                <p14:modId xmlns="" xmlns:p14="http://schemas.microsoft.com/office/powerpoint/2010/main" val="3696346773"/>
              </p:ext>
            </p:extLst>
          </p:nvPr>
        </p:nvGraphicFramePr>
        <p:xfrm>
          <a:off x="1588" y="1588"/>
          <a:ext cx="1227" cy="1588"/>
        </p:xfrm>
        <a:graphic>
          <a:graphicData uri="http://schemas.openxmlformats.org/presentationml/2006/ole">
            <p:oleObj spid="_x0000_s14342" name="think-cell Slide" r:id="rId5" imgW="7761960" imgH="10047960" progId="">
              <p:embed/>
            </p:oleObj>
          </a:graphicData>
        </a:graphic>
      </p:graphicFrame>
      <p:pic>
        <p:nvPicPr>
          <p:cNvPr id="2" name="Picture 1">
            <a:extLst>
              <a:ext uri="{FF2B5EF4-FFF2-40B4-BE49-F238E27FC236}">
                <a16:creationId xmlns="" xmlns:a16="http://schemas.microsoft.com/office/drawing/2014/main" id="{33D2201F-1B2A-334B-8ABE-EFD0BF87B234}"/>
              </a:ext>
            </a:extLst>
          </p:cNvPr>
          <p:cNvPicPr>
            <a:picLocks noChangeAspect="1"/>
          </p:cNvPicPr>
          <p:nvPr/>
        </p:nvPicPr>
        <p:blipFill>
          <a:blip r:embed="rId6">
            <a:extLst>
              <a:ext uri="{BEBA8EAE-BF5A-486C-A8C5-ECC9F3942E4B}">
                <a14:imgProps xmlns="" xmlns:a14="http://schemas.microsoft.com/office/drawing/2010/main">
                  <a14:imgLayer r:embed="rId8">
                    <a14:imgEffect>
                      <a14:saturation sat="0"/>
                    </a14:imgEffect>
                  </a14:imgLayer>
                </a14:imgProps>
              </a:ext>
              <a:ext uri="{28A0092B-C50C-407E-A947-70E740481C1C}">
                <a14:useLocalDpi xmlns="" xmlns:a14="http://schemas.microsoft.com/office/drawing/2010/main" val="0"/>
              </a:ext>
            </a:extLst>
          </a:blip>
          <a:stretch>
            <a:fillRect/>
          </a:stretch>
        </p:blipFill>
        <p:spPr>
          <a:xfrm>
            <a:off x="0" y="0"/>
            <a:ext cx="12192000" cy="6858000"/>
          </a:xfrm>
          <a:prstGeom prst="rect">
            <a:avLst/>
          </a:prstGeom>
        </p:spPr>
      </p:pic>
      <p:sp>
        <p:nvSpPr>
          <p:cNvPr id="10" name="Freeform 9">
            <a:extLst>
              <a:ext uri="{FF2B5EF4-FFF2-40B4-BE49-F238E27FC236}">
                <a16:creationId xmlns="" xmlns:a16="http://schemas.microsoft.com/office/drawing/2014/main" id="{7895D160-7B8C-2A4D-9CB4-9675FE38372F}"/>
              </a:ext>
            </a:extLst>
          </p:cNvPr>
          <p:cNvSpPr/>
          <p:nvPr/>
        </p:nvSpPr>
        <p:spPr>
          <a:xfrm>
            <a:off x="0" y="0"/>
            <a:ext cx="12192000" cy="6858000"/>
          </a:xfrm>
          <a:custGeom>
            <a:avLst/>
            <a:gdLst>
              <a:gd name="connsiteX0" fmla="*/ 5391256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4279815 h 6858000"/>
              <a:gd name="connsiteX5" fmla="*/ 1169 w 12192000"/>
              <a:gd name="connsiteY5" fmla="*/ 4280689 h 6858000"/>
              <a:gd name="connsiteX6" fmla="*/ 9784 w 12192000"/>
              <a:gd name="connsiteY6" fmla="*/ 4287132 h 6858000"/>
              <a:gd name="connsiteX7" fmla="*/ 231139 w 12192000"/>
              <a:gd name="connsiteY7" fmla="*/ 4425300 h 6858000"/>
              <a:gd name="connsiteX8" fmla="*/ 277312 w 12192000"/>
              <a:gd name="connsiteY8" fmla="*/ 4449659 h 6858000"/>
              <a:gd name="connsiteX9" fmla="*/ 307256 w 12192000"/>
              <a:gd name="connsiteY9" fmla="*/ 4467851 h 6858000"/>
              <a:gd name="connsiteX10" fmla="*/ 462810 w 12192000"/>
              <a:gd name="connsiteY10" fmla="*/ 4547520 h 6858000"/>
              <a:gd name="connsiteX11" fmla="*/ 462823 w 12192000"/>
              <a:gd name="connsiteY11" fmla="*/ 4547527 h 6858000"/>
              <a:gd name="connsiteX12" fmla="*/ 462838 w 12192000"/>
              <a:gd name="connsiteY12" fmla="*/ 4547534 h 6858000"/>
              <a:gd name="connsiteX13" fmla="*/ 622639 w 12192000"/>
              <a:gd name="connsiteY13" fmla="*/ 4619778 h 6858000"/>
              <a:gd name="connsiteX14" fmla="*/ 677084 w 12192000"/>
              <a:gd name="connsiteY14" fmla="*/ 4641245 h 6858000"/>
              <a:gd name="connsiteX15" fmla="*/ 704071 w 12192000"/>
              <a:gd name="connsiteY15" fmla="*/ 4653049 h 6858000"/>
              <a:gd name="connsiteX16" fmla="*/ 731678 w 12192000"/>
              <a:gd name="connsiteY16" fmla="*/ 4662771 h 6858000"/>
              <a:gd name="connsiteX17" fmla="*/ 786480 w 12192000"/>
              <a:gd name="connsiteY17" fmla="*/ 4684379 h 6858000"/>
              <a:gd name="connsiteX18" fmla="*/ 954108 w 12192000"/>
              <a:gd name="connsiteY18" fmla="*/ 4741098 h 6858000"/>
              <a:gd name="connsiteX19" fmla="*/ 954118 w 12192000"/>
              <a:gd name="connsiteY19" fmla="*/ 4741101 h 6858000"/>
              <a:gd name="connsiteX20" fmla="*/ 954130 w 12192000"/>
              <a:gd name="connsiteY20" fmla="*/ 4741104 h 6858000"/>
              <a:gd name="connsiteX21" fmla="*/ 1125327 w 12192000"/>
              <a:gd name="connsiteY21" fmla="*/ 4789719 h 6858000"/>
              <a:gd name="connsiteX22" fmla="*/ 1183280 w 12192000"/>
              <a:gd name="connsiteY22" fmla="*/ 4803094 h 6858000"/>
              <a:gd name="connsiteX23" fmla="*/ 1212200 w 12192000"/>
              <a:gd name="connsiteY23" fmla="*/ 4810918 h 6858000"/>
              <a:gd name="connsiteX24" fmla="*/ 1241437 w 12192000"/>
              <a:gd name="connsiteY24" fmla="*/ 4816517 h 6858000"/>
              <a:gd name="connsiteX25" fmla="*/ 1299880 w 12192000"/>
              <a:gd name="connsiteY25" fmla="*/ 4830005 h 6858000"/>
              <a:gd name="connsiteX26" fmla="*/ 1477542 w 12192000"/>
              <a:gd name="connsiteY26" fmla="*/ 4861733 h 6858000"/>
              <a:gd name="connsiteX27" fmla="*/ 1477550 w 12192000"/>
              <a:gd name="connsiteY27" fmla="*/ 4861734 h 6858000"/>
              <a:gd name="connsiteX28" fmla="*/ 1477559 w 12192000"/>
              <a:gd name="connsiteY28" fmla="*/ 4861735 h 6858000"/>
              <a:gd name="connsiteX29" fmla="*/ 1658111 w 12192000"/>
              <a:gd name="connsiteY29" fmla="*/ 4884678 h 6858000"/>
              <a:gd name="connsiteX30" fmla="*/ 1718892 w 12192000"/>
              <a:gd name="connsiteY30" fmla="*/ 4889300 h 6858000"/>
              <a:gd name="connsiteX31" fmla="*/ 1749405 w 12192000"/>
              <a:gd name="connsiteY31" fmla="*/ 4892785 h 6858000"/>
              <a:gd name="connsiteX32" fmla="*/ 1779946 w 12192000"/>
              <a:gd name="connsiteY32" fmla="*/ 4893942 h 6858000"/>
              <a:gd name="connsiteX33" fmla="*/ 1841336 w 12192000"/>
              <a:gd name="connsiteY33" fmla="*/ 4898611 h 6858000"/>
              <a:gd name="connsiteX34" fmla="*/ 2026998 w 12192000"/>
              <a:gd name="connsiteY34" fmla="*/ 4903305 h 6858000"/>
              <a:gd name="connsiteX35" fmla="*/ 5634903 w 12192000"/>
              <a:gd name="connsiteY35" fmla="*/ 1295400 h 6858000"/>
              <a:gd name="connsiteX36" fmla="*/ 5624383 w 12192000"/>
              <a:gd name="connsiteY36" fmla="*/ 1017806 h 6858000"/>
              <a:gd name="connsiteX37" fmla="*/ 5618115 w 12192000"/>
              <a:gd name="connsiteY37" fmla="*/ 962926 h 6858000"/>
              <a:gd name="connsiteX38" fmla="*/ 5616276 w 12192000"/>
              <a:gd name="connsiteY38" fmla="*/ 926513 h 6858000"/>
              <a:gd name="connsiteX39" fmla="*/ 5607054 w 12192000"/>
              <a:gd name="connsiteY39" fmla="*/ 866086 h 6858000"/>
              <a:gd name="connsiteX40" fmla="*/ 5593332 w 12192000"/>
              <a:gd name="connsiteY40" fmla="*/ 745952 h 6858000"/>
              <a:gd name="connsiteX41" fmla="*/ 5570615 w 12192000"/>
              <a:gd name="connsiteY41" fmla="*/ 627326 h 6858000"/>
              <a:gd name="connsiteX42" fmla="*/ 5561603 w 12192000"/>
              <a:gd name="connsiteY42" fmla="*/ 568281 h 6858000"/>
              <a:gd name="connsiteX43" fmla="*/ 5552607 w 12192000"/>
              <a:gd name="connsiteY43" fmla="*/ 533291 h 6858000"/>
              <a:gd name="connsiteX44" fmla="*/ 5542516 w 12192000"/>
              <a:gd name="connsiteY44" fmla="*/ 480601 h 6858000"/>
              <a:gd name="connsiteX45" fmla="*/ 5472699 w 12192000"/>
              <a:gd name="connsiteY45" fmla="*/ 222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2192000" h="6858000">
                <a:moveTo>
                  <a:pt x="5391256" y="0"/>
                </a:moveTo>
                <a:lnTo>
                  <a:pt x="12192000" y="0"/>
                </a:lnTo>
                <a:lnTo>
                  <a:pt x="12192000" y="6858000"/>
                </a:lnTo>
                <a:lnTo>
                  <a:pt x="0" y="6858000"/>
                </a:lnTo>
                <a:lnTo>
                  <a:pt x="0" y="4279815"/>
                </a:lnTo>
                <a:lnTo>
                  <a:pt x="1169" y="4280689"/>
                </a:lnTo>
                <a:lnTo>
                  <a:pt x="9784" y="4287132"/>
                </a:lnTo>
                <a:cubicBezTo>
                  <a:pt x="81763" y="4335760"/>
                  <a:pt x="155590" y="4381858"/>
                  <a:pt x="231139" y="4425300"/>
                </a:cubicBezTo>
                <a:lnTo>
                  <a:pt x="277312" y="4449659"/>
                </a:lnTo>
                <a:lnTo>
                  <a:pt x="307256" y="4467851"/>
                </a:lnTo>
                <a:lnTo>
                  <a:pt x="462810" y="4547520"/>
                </a:lnTo>
                <a:lnTo>
                  <a:pt x="462823" y="4547527"/>
                </a:lnTo>
                <a:lnTo>
                  <a:pt x="462838" y="4547534"/>
                </a:lnTo>
                <a:lnTo>
                  <a:pt x="622639" y="4619778"/>
                </a:lnTo>
                <a:lnTo>
                  <a:pt x="677084" y="4641245"/>
                </a:lnTo>
                <a:lnTo>
                  <a:pt x="704071" y="4653049"/>
                </a:lnTo>
                <a:lnTo>
                  <a:pt x="731678" y="4662771"/>
                </a:lnTo>
                <a:lnTo>
                  <a:pt x="786480" y="4684379"/>
                </a:lnTo>
                <a:lnTo>
                  <a:pt x="954108" y="4741098"/>
                </a:lnTo>
                <a:lnTo>
                  <a:pt x="954118" y="4741101"/>
                </a:lnTo>
                <a:lnTo>
                  <a:pt x="954130" y="4741104"/>
                </a:lnTo>
                <a:lnTo>
                  <a:pt x="1125327" y="4789719"/>
                </a:lnTo>
                <a:lnTo>
                  <a:pt x="1183280" y="4803094"/>
                </a:lnTo>
                <a:lnTo>
                  <a:pt x="1212200" y="4810918"/>
                </a:lnTo>
                <a:lnTo>
                  <a:pt x="1241437" y="4816517"/>
                </a:lnTo>
                <a:lnTo>
                  <a:pt x="1299880" y="4830005"/>
                </a:lnTo>
                <a:lnTo>
                  <a:pt x="1477542" y="4861733"/>
                </a:lnTo>
                <a:lnTo>
                  <a:pt x="1477550" y="4861734"/>
                </a:lnTo>
                <a:lnTo>
                  <a:pt x="1477559" y="4861735"/>
                </a:lnTo>
                <a:lnTo>
                  <a:pt x="1658111" y="4884678"/>
                </a:lnTo>
                <a:lnTo>
                  <a:pt x="1718892" y="4889300"/>
                </a:lnTo>
                <a:lnTo>
                  <a:pt x="1749405" y="4892785"/>
                </a:lnTo>
                <a:lnTo>
                  <a:pt x="1779946" y="4893942"/>
                </a:lnTo>
                <a:lnTo>
                  <a:pt x="1841336" y="4898611"/>
                </a:lnTo>
                <a:cubicBezTo>
                  <a:pt x="1902830" y="4901728"/>
                  <a:pt x="1964730" y="4903305"/>
                  <a:pt x="2026998" y="4903305"/>
                </a:cubicBezTo>
                <a:cubicBezTo>
                  <a:pt x="4019589" y="4903305"/>
                  <a:pt x="5634903" y="3287991"/>
                  <a:pt x="5634903" y="1295400"/>
                </a:cubicBezTo>
                <a:cubicBezTo>
                  <a:pt x="5634903" y="1201997"/>
                  <a:pt x="5631354" y="1109424"/>
                  <a:pt x="5624383" y="1017806"/>
                </a:cubicBezTo>
                <a:lnTo>
                  <a:pt x="5618115" y="962926"/>
                </a:lnTo>
                <a:lnTo>
                  <a:pt x="5616276" y="926513"/>
                </a:lnTo>
                <a:lnTo>
                  <a:pt x="5607054" y="866086"/>
                </a:lnTo>
                <a:lnTo>
                  <a:pt x="5593332" y="745952"/>
                </a:lnTo>
                <a:lnTo>
                  <a:pt x="5570615" y="627326"/>
                </a:lnTo>
                <a:lnTo>
                  <a:pt x="5561603" y="568281"/>
                </a:lnTo>
                <a:lnTo>
                  <a:pt x="5552607" y="533291"/>
                </a:lnTo>
                <a:lnTo>
                  <a:pt x="5542516" y="480601"/>
                </a:lnTo>
                <a:cubicBezTo>
                  <a:pt x="5522368" y="393320"/>
                  <a:pt x="5499053" y="307250"/>
                  <a:pt x="5472699" y="222519"/>
                </a:cubicBezTo>
                <a:close/>
              </a:path>
            </a:pathLst>
          </a:custGeom>
          <a:gradFill flip="none" rotWithShape="1">
            <a:gsLst>
              <a:gs pos="0">
                <a:schemeClr val="tx1">
                  <a:alpha val="93000"/>
                </a:schemeClr>
              </a:gs>
              <a:gs pos="100000">
                <a:schemeClr val="tx1">
                  <a:alpha val="95000"/>
                </a:schemeClr>
              </a:gs>
              <a:gs pos="49000">
                <a:schemeClr val="tx1">
                  <a:alpha val="77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 name="Freeform 22">
            <a:extLst>
              <a:ext uri="{FF2B5EF4-FFF2-40B4-BE49-F238E27FC236}">
                <a16:creationId xmlns="" xmlns:a16="http://schemas.microsoft.com/office/drawing/2014/main" id="{23570814-63A1-0B4E-B5B8-FA16A652B610}"/>
              </a:ext>
            </a:extLst>
          </p:cNvPr>
          <p:cNvSpPr/>
          <p:nvPr/>
        </p:nvSpPr>
        <p:spPr>
          <a:xfrm>
            <a:off x="0" y="0"/>
            <a:ext cx="5634903" cy="4903305"/>
          </a:xfrm>
          <a:custGeom>
            <a:avLst/>
            <a:gdLst>
              <a:gd name="connsiteX0" fmla="*/ 0 w 5634903"/>
              <a:gd name="connsiteY0" fmla="*/ 0 h 4903305"/>
              <a:gd name="connsiteX1" fmla="*/ 5391256 w 5634903"/>
              <a:gd name="connsiteY1" fmla="*/ 0 h 4903305"/>
              <a:gd name="connsiteX2" fmla="*/ 5472699 w 5634903"/>
              <a:gd name="connsiteY2" fmla="*/ 222519 h 4903305"/>
              <a:gd name="connsiteX3" fmla="*/ 5634903 w 5634903"/>
              <a:gd name="connsiteY3" fmla="*/ 1295400 h 4903305"/>
              <a:gd name="connsiteX4" fmla="*/ 2026998 w 5634903"/>
              <a:gd name="connsiteY4" fmla="*/ 4903305 h 4903305"/>
              <a:gd name="connsiteX5" fmla="*/ 9784 w 5634903"/>
              <a:gd name="connsiteY5" fmla="*/ 4287132 h 4903305"/>
              <a:gd name="connsiteX6" fmla="*/ 0 w 5634903"/>
              <a:gd name="connsiteY6" fmla="*/ 4279815 h 4903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4903" h="4903305">
                <a:moveTo>
                  <a:pt x="0" y="0"/>
                </a:moveTo>
                <a:lnTo>
                  <a:pt x="5391256" y="0"/>
                </a:lnTo>
                <a:lnTo>
                  <a:pt x="5472699" y="222519"/>
                </a:lnTo>
                <a:cubicBezTo>
                  <a:pt x="5578115" y="561442"/>
                  <a:pt x="5634903" y="921789"/>
                  <a:pt x="5634903" y="1295400"/>
                </a:cubicBezTo>
                <a:cubicBezTo>
                  <a:pt x="5634903" y="3287991"/>
                  <a:pt x="4019589" y="4903305"/>
                  <a:pt x="2026998" y="4903305"/>
                </a:cubicBezTo>
                <a:cubicBezTo>
                  <a:pt x="1279776" y="4903305"/>
                  <a:pt x="585609" y="4676152"/>
                  <a:pt x="9784" y="4287132"/>
                </a:cubicBezTo>
                <a:lnTo>
                  <a:pt x="0" y="4279815"/>
                </a:lnTo>
                <a:close/>
              </a:path>
            </a:pathLst>
          </a:cu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Pie 13">
            <a:extLst>
              <a:ext uri="{FF2B5EF4-FFF2-40B4-BE49-F238E27FC236}">
                <a16:creationId xmlns="" xmlns:a16="http://schemas.microsoft.com/office/drawing/2014/main" id="{02BDD5EC-8093-B249-951C-F5B54185F516}"/>
              </a:ext>
            </a:extLst>
          </p:cNvPr>
          <p:cNvSpPr/>
          <p:nvPr/>
        </p:nvSpPr>
        <p:spPr>
          <a:xfrm>
            <a:off x="-472451" y="-1203885"/>
            <a:ext cx="4998838" cy="4998885"/>
          </a:xfrm>
          <a:custGeom>
            <a:avLst/>
            <a:gdLst>
              <a:gd name="connsiteX0" fmla="*/ 3234812 w 4998564"/>
              <a:gd name="connsiteY0" fmla="*/ 4887879 h 4998562"/>
              <a:gd name="connsiteX1" fmla="*/ 286912 w 4998564"/>
              <a:gd name="connsiteY1" fmla="*/ 3661963 h 4998562"/>
              <a:gd name="connsiteX2" fmla="*/ 949190 w 4998564"/>
              <a:gd name="connsiteY2" fmla="*/ 538764 h 4998562"/>
              <a:gd name="connsiteX3" fmla="*/ 4140930 w 4998564"/>
              <a:gd name="connsiteY3" fmla="*/ 614765 h 4998562"/>
              <a:gd name="connsiteX4" fmla="*/ 4653804 w 4998564"/>
              <a:gd name="connsiteY4" fmla="*/ 3765946 h 4998562"/>
              <a:gd name="connsiteX5" fmla="*/ 2499282 w 4998564"/>
              <a:gd name="connsiteY5" fmla="*/ 2499281 h 4998562"/>
              <a:gd name="connsiteX6" fmla="*/ 3234812 w 4998564"/>
              <a:gd name="connsiteY6" fmla="*/ 4887879 h 4998562"/>
              <a:gd name="connsiteX0" fmla="*/ 2499449 w 4998838"/>
              <a:gd name="connsiteY0" fmla="*/ 2499284 h 4998885"/>
              <a:gd name="connsiteX1" fmla="*/ 3234979 w 4998838"/>
              <a:gd name="connsiteY1" fmla="*/ 4887882 h 4998885"/>
              <a:gd name="connsiteX2" fmla="*/ 287079 w 4998838"/>
              <a:gd name="connsiteY2" fmla="*/ 3661966 h 4998885"/>
              <a:gd name="connsiteX3" fmla="*/ 949357 w 4998838"/>
              <a:gd name="connsiteY3" fmla="*/ 538767 h 4998885"/>
              <a:gd name="connsiteX4" fmla="*/ 4141097 w 4998838"/>
              <a:gd name="connsiteY4" fmla="*/ 614768 h 4998885"/>
              <a:gd name="connsiteX5" fmla="*/ 4653971 w 4998838"/>
              <a:gd name="connsiteY5" fmla="*/ 3765949 h 4998885"/>
              <a:gd name="connsiteX6" fmla="*/ 2590889 w 4998838"/>
              <a:gd name="connsiteY6" fmla="*/ 2590724 h 4998885"/>
              <a:gd name="connsiteX0" fmla="*/ 2499449 w 4998838"/>
              <a:gd name="connsiteY0" fmla="*/ 2499284 h 4998885"/>
              <a:gd name="connsiteX1" fmla="*/ 3234979 w 4998838"/>
              <a:gd name="connsiteY1" fmla="*/ 4887882 h 4998885"/>
              <a:gd name="connsiteX2" fmla="*/ 287079 w 4998838"/>
              <a:gd name="connsiteY2" fmla="*/ 3661966 h 4998885"/>
              <a:gd name="connsiteX3" fmla="*/ 949357 w 4998838"/>
              <a:gd name="connsiteY3" fmla="*/ 538767 h 4998885"/>
              <a:gd name="connsiteX4" fmla="*/ 4141097 w 4998838"/>
              <a:gd name="connsiteY4" fmla="*/ 614768 h 4998885"/>
              <a:gd name="connsiteX5" fmla="*/ 4653971 w 4998838"/>
              <a:gd name="connsiteY5" fmla="*/ 3765949 h 4998885"/>
              <a:gd name="connsiteX0" fmla="*/ 3234979 w 4998838"/>
              <a:gd name="connsiteY0" fmla="*/ 4887882 h 4998885"/>
              <a:gd name="connsiteX1" fmla="*/ 287079 w 4998838"/>
              <a:gd name="connsiteY1" fmla="*/ 3661966 h 4998885"/>
              <a:gd name="connsiteX2" fmla="*/ 949357 w 4998838"/>
              <a:gd name="connsiteY2" fmla="*/ 538767 h 4998885"/>
              <a:gd name="connsiteX3" fmla="*/ 4141097 w 4998838"/>
              <a:gd name="connsiteY3" fmla="*/ 614768 h 4998885"/>
              <a:gd name="connsiteX4" fmla="*/ 4653971 w 4998838"/>
              <a:gd name="connsiteY4" fmla="*/ 3765949 h 4998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8838" h="4998885">
                <a:moveTo>
                  <a:pt x="3234979" y="4887882"/>
                </a:moveTo>
                <a:cubicBezTo>
                  <a:pt x="2085370" y="5241885"/>
                  <a:pt x="846667" y="4726757"/>
                  <a:pt x="287079" y="3661966"/>
                </a:cubicBezTo>
                <a:cubicBezTo>
                  <a:pt x="-272509" y="2597174"/>
                  <a:pt x="5779" y="1284811"/>
                  <a:pt x="949357" y="538767"/>
                </a:cubicBezTo>
                <a:cubicBezTo>
                  <a:pt x="1892934" y="-207276"/>
                  <a:pt x="3234098" y="-175341"/>
                  <a:pt x="4141097" y="614768"/>
                </a:cubicBezTo>
                <a:cubicBezTo>
                  <a:pt x="5048096" y="1404877"/>
                  <a:pt x="5263605" y="2728999"/>
                  <a:pt x="4653971" y="3765949"/>
                </a:cubicBez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oup 30">
            <a:extLst>
              <a:ext uri="{FF2B5EF4-FFF2-40B4-BE49-F238E27FC236}">
                <a16:creationId xmlns="" xmlns:a16="http://schemas.microsoft.com/office/drawing/2014/main" id="{70076807-7D89-D94D-A9E4-3D5E86791186}"/>
              </a:ext>
            </a:extLst>
          </p:cNvPr>
          <p:cNvGrpSpPr/>
          <p:nvPr/>
        </p:nvGrpSpPr>
        <p:grpSpPr>
          <a:xfrm rot="5400000" flipV="1">
            <a:off x="10369639" y="4959439"/>
            <a:ext cx="1729654" cy="848268"/>
            <a:chOff x="233739" y="283295"/>
            <a:chExt cx="1729654" cy="848268"/>
          </a:xfrm>
          <a:gradFill>
            <a:gsLst>
              <a:gs pos="100000">
                <a:schemeClr val="accent6"/>
              </a:gs>
              <a:gs pos="0">
                <a:schemeClr val="tx1">
                  <a:alpha val="0"/>
                </a:schemeClr>
              </a:gs>
            </a:gsLst>
            <a:lin ang="0" scaled="1"/>
          </a:gradFill>
        </p:grpSpPr>
        <p:grpSp>
          <p:nvGrpSpPr>
            <p:cNvPr id="32" name="Group 31">
              <a:extLst>
                <a:ext uri="{FF2B5EF4-FFF2-40B4-BE49-F238E27FC236}">
                  <a16:creationId xmlns="" xmlns:a16="http://schemas.microsoft.com/office/drawing/2014/main" id="{AD51AF75-0222-0B45-A207-1D5E861B9FA7}"/>
                </a:ext>
              </a:extLst>
            </p:cNvPr>
            <p:cNvGrpSpPr/>
            <p:nvPr/>
          </p:nvGrpSpPr>
          <p:grpSpPr>
            <a:xfrm rot="5400000">
              <a:off x="1055270" y="-538236"/>
              <a:ext cx="86591" cy="1729654"/>
              <a:chOff x="85292" y="59892"/>
              <a:chExt cx="86591" cy="1729654"/>
            </a:xfrm>
            <a:grpFill/>
          </p:grpSpPr>
          <p:sp>
            <p:nvSpPr>
              <p:cNvPr id="66" name="Oval 65">
                <a:extLst>
                  <a:ext uri="{FF2B5EF4-FFF2-40B4-BE49-F238E27FC236}">
                    <a16:creationId xmlns="" xmlns:a16="http://schemas.microsoft.com/office/drawing/2014/main" id="{2FE1FEAF-DDDA-D241-8DA2-A1014C6CC09C}"/>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 xmlns:a16="http://schemas.microsoft.com/office/drawing/2014/main" id="{D9604FB3-6A96-1045-89E5-21B7CEE3A855}"/>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 xmlns:a16="http://schemas.microsoft.com/office/drawing/2014/main" id="{8F925360-ADAA-3349-BFAE-A08391D387D8}"/>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 xmlns:a16="http://schemas.microsoft.com/office/drawing/2014/main" id="{1F54B677-943C-814A-9C69-38F397E4CEA5}"/>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 xmlns:a16="http://schemas.microsoft.com/office/drawing/2014/main" id="{1576B89F-988E-9F4B-84F2-741FE14BA8BD}"/>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 xmlns:a16="http://schemas.microsoft.com/office/drawing/2014/main" id="{49C06A74-21AF-1044-9D2B-6B0E0A9C63CE}"/>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 xmlns:a16="http://schemas.microsoft.com/office/drawing/2014/main" id="{896A7CE8-02A6-FE4A-A109-4B538B269D3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 xmlns:a16="http://schemas.microsoft.com/office/drawing/2014/main" id="{BFF04BD9-98DF-E74B-92F9-EC28A57029A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 xmlns:a16="http://schemas.microsoft.com/office/drawing/2014/main" id="{AC2F0CBC-8817-1749-A469-285039A13FF9}"/>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 xmlns:a16="http://schemas.microsoft.com/office/drawing/2014/main" id="{8F6D74C5-A5D1-0F46-B149-B18C928DE17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 xmlns:a16="http://schemas.microsoft.com/office/drawing/2014/main" id="{A4987CFE-15AF-C145-BECF-260D8E7EABF4}"/>
                </a:ext>
              </a:extLst>
            </p:cNvPr>
            <p:cNvGrpSpPr/>
            <p:nvPr/>
          </p:nvGrpSpPr>
          <p:grpSpPr>
            <a:xfrm rot="5400000">
              <a:off x="1055270" y="-284344"/>
              <a:ext cx="86591" cy="1729654"/>
              <a:chOff x="85292" y="59892"/>
              <a:chExt cx="86591" cy="1729654"/>
            </a:xfrm>
            <a:grpFill/>
          </p:grpSpPr>
          <p:sp>
            <p:nvSpPr>
              <p:cNvPr id="56" name="Oval 55">
                <a:extLst>
                  <a:ext uri="{FF2B5EF4-FFF2-40B4-BE49-F238E27FC236}">
                    <a16:creationId xmlns="" xmlns:a16="http://schemas.microsoft.com/office/drawing/2014/main" id="{F57B2998-7236-B145-9C4B-F8B9A84D542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 xmlns:a16="http://schemas.microsoft.com/office/drawing/2014/main" id="{CBD714E0-D9BB-E749-B0FB-A5C0946A574B}"/>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 xmlns:a16="http://schemas.microsoft.com/office/drawing/2014/main" id="{868D29D6-41C3-F04E-AEF1-9E81BCF6F1FF}"/>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 xmlns:a16="http://schemas.microsoft.com/office/drawing/2014/main" id="{9C8BB248-6BDC-C446-913E-A11E2C93FCAE}"/>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 xmlns:a16="http://schemas.microsoft.com/office/drawing/2014/main" id="{5E240DA3-CFD5-3A4A-83D0-FB8A8418971E}"/>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 xmlns:a16="http://schemas.microsoft.com/office/drawing/2014/main" id="{521D2625-BA21-8446-830D-79DB8D490A12}"/>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 xmlns:a16="http://schemas.microsoft.com/office/drawing/2014/main" id="{AA5BB190-0608-0143-88CB-E6420138D91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 xmlns:a16="http://schemas.microsoft.com/office/drawing/2014/main" id="{5D69FEB3-E7A7-CC4F-86C0-096D45D6795B}"/>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 xmlns:a16="http://schemas.microsoft.com/office/drawing/2014/main" id="{E0275379-E3C2-D348-954C-FB7C59B7045A}"/>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 xmlns:a16="http://schemas.microsoft.com/office/drawing/2014/main" id="{A808291E-37F2-7E4B-8D30-4B503B0FC685}"/>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 xmlns:a16="http://schemas.microsoft.com/office/drawing/2014/main" id="{F932C8E5-9E2B-E247-979D-A0A8DC35DF54}"/>
                </a:ext>
              </a:extLst>
            </p:cNvPr>
            <p:cNvGrpSpPr/>
            <p:nvPr/>
          </p:nvGrpSpPr>
          <p:grpSpPr>
            <a:xfrm rot="5400000">
              <a:off x="1055270" y="-30452"/>
              <a:ext cx="86591" cy="1729654"/>
              <a:chOff x="85292" y="59892"/>
              <a:chExt cx="86591" cy="1729654"/>
            </a:xfrm>
            <a:grpFill/>
          </p:grpSpPr>
          <p:sp>
            <p:nvSpPr>
              <p:cNvPr id="46" name="Oval 45">
                <a:extLst>
                  <a:ext uri="{FF2B5EF4-FFF2-40B4-BE49-F238E27FC236}">
                    <a16:creationId xmlns="" xmlns:a16="http://schemas.microsoft.com/office/drawing/2014/main" id="{72CC8675-0098-7241-B9BF-515637F1503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 xmlns:a16="http://schemas.microsoft.com/office/drawing/2014/main" id="{8D79CF3F-6898-904C-9CAC-6FB42FE0F2F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 xmlns:a16="http://schemas.microsoft.com/office/drawing/2014/main" id="{6ED01320-37EC-C54C-A4C8-1090FD1EFFF2}"/>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 xmlns:a16="http://schemas.microsoft.com/office/drawing/2014/main" id="{1D6A8934-3C8A-4647-AFEE-4BF033413450}"/>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 xmlns:a16="http://schemas.microsoft.com/office/drawing/2014/main" id="{7B55C238-06FF-5C43-83B7-B1A04880563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 xmlns:a16="http://schemas.microsoft.com/office/drawing/2014/main" id="{39B88FA7-DBCA-D54B-AC67-50AF6F99B459}"/>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 xmlns:a16="http://schemas.microsoft.com/office/drawing/2014/main" id="{E29FC40A-0E91-6741-A118-DE217A3C312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 xmlns:a16="http://schemas.microsoft.com/office/drawing/2014/main" id="{E49BED5A-A8D8-D54A-8DC0-578494F5C59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 xmlns:a16="http://schemas.microsoft.com/office/drawing/2014/main" id="{C33DD65E-9CFC-D641-9276-FB8DD03A6974}"/>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 xmlns:a16="http://schemas.microsoft.com/office/drawing/2014/main" id="{541D8FD5-B8BD-944A-ABB5-4D2A6410F97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 name="Group 34">
              <a:extLst>
                <a:ext uri="{FF2B5EF4-FFF2-40B4-BE49-F238E27FC236}">
                  <a16:creationId xmlns="" xmlns:a16="http://schemas.microsoft.com/office/drawing/2014/main" id="{ED5952B0-5A65-7F4A-8B00-1C7A9A74F391}"/>
                </a:ext>
              </a:extLst>
            </p:cNvPr>
            <p:cNvGrpSpPr/>
            <p:nvPr/>
          </p:nvGrpSpPr>
          <p:grpSpPr>
            <a:xfrm rot="5400000">
              <a:off x="1055270" y="223441"/>
              <a:ext cx="86591" cy="1729654"/>
              <a:chOff x="85292" y="59892"/>
              <a:chExt cx="86591" cy="1729654"/>
            </a:xfrm>
            <a:grpFill/>
          </p:grpSpPr>
          <p:sp>
            <p:nvSpPr>
              <p:cNvPr id="36" name="Oval 35">
                <a:extLst>
                  <a:ext uri="{FF2B5EF4-FFF2-40B4-BE49-F238E27FC236}">
                    <a16:creationId xmlns="" xmlns:a16="http://schemas.microsoft.com/office/drawing/2014/main" id="{B70DC0EF-6280-C14B-B94A-81EAEC08299E}"/>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 xmlns:a16="http://schemas.microsoft.com/office/drawing/2014/main" id="{8EA3DA41-9104-224B-942C-64CF97499F1F}"/>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 xmlns:a16="http://schemas.microsoft.com/office/drawing/2014/main" id="{C8E4D24E-1C8B-5746-962C-02EDBD0261BE}"/>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 xmlns:a16="http://schemas.microsoft.com/office/drawing/2014/main" id="{F5E1A0F4-CADB-FC4D-B3F2-A9C7145AE602}"/>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 xmlns:a16="http://schemas.microsoft.com/office/drawing/2014/main" id="{5CD81B21-B984-934A-9F0F-0F342641DF1F}"/>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 xmlns:a16="http://schemas.microsoft.com/office/drawing/2014/main" id="{8FBE9860-474E-754F-8048-A9601549426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 xmlns:a16="http://schemas.microsoft.com/office/drawing/2014/main" id="{9D45563D-D934-2E4A-8096-43D105569E6C}"/>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 xmlns:a16="http://schemas.microsoft.com/office/drawing/2014/main" id="{D4227AEC-0415-3E4A-BC18-2F04D4851C76}"/>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 xmlns:a16="http://schemas.microsoft.com/office/drawing/2014/main" id="{39AE6E36-68B9-9A4D-A240-1BE77BF2E57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 xmlns:a16="http://schemas.microsoft.com/office/drawing/2014/main" id="{BC683DF1-6313-DD48-B3C3-86E357946F7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76" name="Group 75">
            <a:extLst>
              <a:ext uri="{FF2B5EF4-FFF2-40B4-BE49-F238E27FC236}">
                <a16:creationId xmlns="" xmlns:a16="http://schemas.microsoft.com/office/drawing/2014/main" id="{EE80C463-D9D7-B449-954C-9840ABE67B1D}"/>
              </a:ext>
            </a:extLst>
          </p:cNvPr>
          <p:cNvGrpSpPr/>
          <p:nvPr/>
        </p:nvGrpSpPr>
        <p:grpSpPr>
          <a:xfrm>
            <a:off x="9769350" y="6103711"/>
            <a:ext cx="804758" cy="144689"/>
            <a:chOff x="4455886" y="479425"/>
            <a:chExt cx="804758" cy="144689"/>
          </a:xfrm>
        </p:grpSpPr>
        <p:cxnSp>
          <p:nvCxnSpPr>
            <p:cNvPr id="77" name="Straight Connector 76">
              <a:extLst>
                <a:ext uri="{FF2B5EF4-FFF2-40B4-BE49-F238E27FC236}">
                  <a16:creationId xmlns="" xmlns:a16="http://schemas.microsoft.com/office/drawing/2014/main" id="{2080CD45-23ED-E343-BAE6-87A158652348}"/>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 xmlns:a16="http://schemas.microsoft.com/office/drawing/2014/main" id="{82808AE4-03AD-6843-A6D6-6B934387F36C}"/>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 xmlns:a16="http://schemas.microsoft.com/office/drawing/2014/main" id="{C07B336B-3AE4-374D-8F05-D5113C03F169}"/>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 xmlns:a16="http://schemas.microsoft.com/office/drawing/2014/main" id="{F92AC2CF-166B-6D43-A4DB-BE028FFE73F0}"/>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 xmlns:a16="http://schemas.microsoft.com/office/drawing/2014/main" id="{F348DF2A-CC24-4E42-96BE-A8B826B04F0C}"/>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 xmlns:a16="http://schemas.microsoft.com/office/drawing/2014/main" id="{D67314B8-E420-1744-822A-88745508ED4A}"/>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83" name="Group 82"/>
          <p:cNvGrpSpPr/>
          <p:nvPr/>
        </p:nvGrpSpPr>
        <p:grpSpPr>
          <a:xfrm>
            <a:off x="385564" y="290965"/>
            <a:ext cx="5829706" cy="647452"/>
            <a:chOff x="319878" y="3998260"/>
            <a:chExt cx="4785616" cy="647452"/>
          </a:xfrm>
        </p:grpSpPr>
        <p:sp>
          <p:nvSpPr>
            <p:cNvPr id="84" name="Rectangle 83">
              <a:extLst>
                <a:ext uri="{FF2B5EF4-FFF2-40B4-BE49-F238E27FC236}">
                  <a16:creationId xmlns="" xmlns:a16="http://schemas.microsoft.com/office/drawing/2014/main" id="{741F1DEF-32DD-40D0-B63D-396863A5080A}"/>
                </a:ext>
              </a:extLst>
            </p:cNvPr>
            <p:cNvSpPr/>
            <p:nvPr/>
          </p:nvSpPr>
          <p:spPr>
            <a:xfrm>
              <a:off x="319878" y="4021527"/>
              <a:ext cx="4422107" cy="442804"/>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Title 1"/>
            <p:cNvSpPr txBox="1">
              <a:spLocks/>
            </p:cNvSpPr>
            <p:nvPr/>
          </p:nvSpPr>
          <p:spPr>
            <a:xfrm>
              <a:off x="319879" y="3998260"/>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r>
                <a:rPr lang="en-US" sz="3200" i="1" dirty="0" smtClean="0"/>
                <a:t>Data Flow </a:t>
              </a:r>
              <a:r>
                <a:rPr lang="en-US" sz="3200" i="1" dirty="0" err="1" smtClean="0"/>
                <a:t>Digram</a:t>
              </a:r>
              <a:r>
                <a:rPr lang="en-US" sz="3200" i="1" dirty="0" smtClean="0"/>
                <a:t> </a:t>
              </a:r>
              <a:endParaRPr lang="en-US" sz="3200" i="1" dirty="0"/>
            </a:p>
          </p:txBody>
        </p:sp>
      </p:grpSp>
      <p:pic>
        <p:nvPicPr>
          <p:cNvPr id="14343" name="Picture 1"/>
          <p:cNvPicPr>
            <a:picLocks noChangeAspect="1" noChangeArrowheads="1"/>
          </p:cNvPicPr>
          <p:nvPr/>
        </p:nvPicPr>
        <p:blipFill>
          <a:blip r:embed="rId9"/>
          <a:srcRect t="22014"/>
          <a:stretch>
            <a:fillRect/>
          </a:stretch>
        </p:blipFill>
        <p:spPr bwMode="auto">
          <a:xfrm>
            <a:off x="387927" y="858982"/>
            <a:ext cx="10856831" cy="2064327"/>
          </a:xfrm>
          <a:prstGeom prst="rect">
            <a:avLst/>
          </a:prstGeom>
          <a:noFill/>
          <a:ln w="9525">
            <a:noFill/>
            <a:miter lim="800000"/>
            <a:headEnd/>
            <a:tailEnd/>
          </a:ln>
        </p:spPr>
      </p:pic>
    </p:spTree>
    <p:extLst>
      <p:ext uri="{BB962C8B-B14F-4D97-AF65-F5344CB8AC3E}">
        <p14:creationId xmlns="" xmlns:p14="http://schemas.microsoft.com/office/powerpoint/2010/main" val="13214062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 xmlns:a16="http://schemas.microsoft.com/office/drawing/2014/main" id="{7101138B-5CB1-9447-B76A-C3569D7861DA}"/>
              </a:ext>
            </a:extLst>
          </p:cNvPr>
          <p:cNvGraphicFramePr>
            <a:graphicFrameLocks noChangeAspect="1"/>
          </p:cNvGraphicFramePr>
          <p:nvPr>
            <p:custDataLst>
              <p:tags r:id="rId2"/>
            </p:custDataLst>
            <p:extLst>
              <p:ext uri="{D42A27DB-BD31-4B8C-83A1-F6EECF244321}">
                <p14:modId xmlns="" xmlns:p14="http://schemas.microsoft.com/office/powerpoint/2010/main" val="1631144790"/>
              </p:ext>
            </p:extLst>
          </p:nvPr>
        </p:nvGraphicFramePr>
        <p:xfrm>
          <a:off x="1588" y="1588"/>
          <a:ext cx="1227" cy="1588"/>
        </p:xfrm>
        <a:graphic>
          <a:graphicData uri="http://schemas.openxmlformats.org/presentationml/2006/ole">
            <p:oleObj spid="_x0000_s15366" name="think-cell Slide" r:id="rId5" imgW="7761960" imgH="10047960" progId="">
              <p:embed/>
            </p:oleObj>
          </a:graphicData>
        </a:graphic>
      </p:graphicFrame>
      <p:pic>
        <p:nvPicPr>
          <p:cNvPr id="37" name="Picture 36">
            <a:extLst>
              <a:ext uri="{FF2B5EF4-FFF2-40B4-BE49-F238E27FC236}">
                <a16:creationId xmlns="" xmlns:a16="http://schemas.microsoft.com/office/drawing/2014/main" id="{951759D8-1B63-9D45-91A6-2C9102C30351}"/>
              </a:ext>
            </a:extLst>
          </p:cNvPr>
          <p:cNvPicPr>
            <a:picLocks noChangeAspect="1"/>
          </p:cNvPicPr>
          <p:nvPr/>
        </p:nvPicPr>
        <p:blipFill rotWithShape="1">
          <a:blip r:embed="rId6">
            <a:extLst>
              <a:ext uri="{BEBA8EAE-BF5A-486C-A8C5-ECC9F3942E4B}">
                <a14:imgProps xmlns="" xmlns:a14="http://schemas.microsoft.com/office/drawing/2010/main">
                  <a14:imgLayer r:embed="rId8">
                    <a14:imgEffect>
                      <a14:saturation sat="0"/>
                    </a14:imgEffect>
                  </a14:imgLayer>
                </a14:imgProps>
              </a:ext>
              <a:ext uri="{28A0092B-C50C-407E-A947-70E740481C1C}">
                <a14:useLocalDpi xmlns="" xmlns:a14="http://schemas.microsoft.com/office/drawing/2010/main" val="0"/>
              </a:ext>
            </a:extLst>
          </a:blip>
          <a:srcRect l="15235" t="2" r="-37" b="28447"/>
          <a:stretch/>
        </p:blipFill>
        <p:spPr>
          <a:xfrm flipH="1">
            <a:off x="-1" y="0"/>
            <a:ext cx="12192000" cy="6858000"/>
          </a:xfrm>
          <a:prstGeom prst="rect">
            <a:avLst/>
          </a:prstGeom>
        </p:spPr>
      </p:pic>
      <p:sp>
        <p:nvSpPr>
          <p:cNvPr id="43" name="Freeform 42">
            <a:extLst>
              <a:ext uri="{FF2B5EF4-FFF2-40B4-BE49-F238E27FC236}">
                <a16:creationId xmlns="" xmlns:a16="http://schemas.microsoft.com/office/drawing/2014/main" id="{F9AE8D5E-A2B6-B441-81C1-AD1098C6A36C}"/>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663699 h 6858000"/>
              <a:gd name="connsiteX3" fmla="*/ 7188201 w 12192000"/>
              <a:gd name="connsiteY3" fmla="*/ 6667499 h 6858000"/>
              <a:gd name="connsiteX4" fmla="*/ 7193018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1663699"/>
                </a:lnTo>
                <a:cubicBezTo>
                  <a:pt x="9428478" y="1663699"/>
                  <a:pt x="7188201" y="3903977"/>
                  <a:pt x="7188201" y="6667499"/>
                </a:cubicBezTo>
                <a:lnTo>
                  <a:pt x="7193018" y="6858000"/>
                </a:lnTo>
                <a:lnTo>
                  <a:pt x="0" y="6858000"/>
                </a:lnTo>
                <a:close/>
              </a:path>
            </a:pathLst>
          </a:custGeom>
          <a:gradFill flip="none" rotWithShape="1">
            <a:gsLst>
              <a:gs pos="0">
                <a:schemeClr val="tx1">
                  <a:alpha val="93000"/>
                </a:schemeClr>
              </a:gs>
              <a:gs pos="100000">
                <a:schemeClr val="tx1">
                  <a:alpha val="95000"/>
                </a:schemeClr>
              </a:gs>
              <a:gs pos="49000">
                <a:schemeClr val="tx1">
                  <a:alpha val="77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14">
            <a:extLst>
              <a:ext uri="{FF2B5EF4-FFF2-40B4-BE49-F238E27FC236}">
                <a16:creationId xmlns="" xmlns:a16="http://schemas.microsoft.com/office/drawing/2014/main" id="{B332C908-8DF8-774B-AAB8-F56DF4093155}"/>
              </a:ext>
            </a:extLst>
          </p:cNvPr>
          <p:cNvSpPr/>
          <p:nvPr/>
        </p:nvSpPr>
        <p:spPr>
          <a:xfrm>
            <a:off x="7188202" y="1663700"/>
            <a:ext cx="5003799" cy="5194301"/>
          </a:xfrm>
          <a:custGeom>
            <a:avLst/>
            <a:gdLst>
              <a:gd name="connsiteX0" fmla="*/ 5003799 w 5003799"/>
              <a:gd name="connsiteY0" fmla="*/ 0 h 5194301"/>
              <a:gd name="connsiteX1" fmla="*/ 5003799 w 5003799"/>
              <a:gd name="connsiteY1" fmla="*/ 5194301 h 5194301"/>
              <a:gd name="connsiteX2" fmla="*/ 5003798 w 5003799"/>
              <a:gd name="connsiteY2" fmla="*/ 5194301 h 5194301"/>
              <a:gd name="connsiteX3" fmla="*/ 5003798 w 5003799"/>
              <a:gd name="connsiteY3" fmla="*/ 1948181 h 5194301"/>
              <a:gd name="connsiteX4" fmla="*/ 1757678 w 5003799"/>
              <a:gd name="connsiteY4" fmla="*/ 5194301 h 5194301"/>
              <a:gd name="connsiteX5" fmla="*/ 4817 w 5003799"/>
              <a:gd name="connsiteY5" fmla="*/ 5194301 h 5194301"/>
              <a:gd name="connsiteX6" fmla="*/ 0 w 5003799"/>
              <a:gd name="connsiteY6" fmla="*/ 5003800 h 5194301"/>
              <a:gd name="connsiteX7" fmla="*/ 5003799 w 5003799"/>
              <a:gd name="connsiteY7" fmla="*/ 0 h 519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3799" h="5194301">
                <a:moveTo>
                  <a:pt x="5003799" y="0"/>
                </a:moveTo>
                <a:lnTo>
                  <a:pt x="5003799" y="5194301"/>
                </a:lnTo>
                <a:lnTo>
                  <a:pt x="5003798" y="5194301"/>
                </a:lnTo>
                <a:lnTo>
                  <a:pt x="5003798" y="1948181"/>
                </a:lnTo>
                <a:cubicBezTo>
                  <a:pt x="3211015" y="1948181"/>
                  <a:pt x="1757678" y="3401518"/>
                  <a:pt x="1757678" y="5194301"/>
                </a:cubicBezTo>
                <a:lnTo>
                  <a:pt x="4817" y="5194301"/>
                </a:lnTo>
                <a:lnTo>
                  <a:pt x="0" y="5003800"/>
                </a:lnTo>
                <a:cubicBezTo>
                  <a:pt x="0" y="2240278"/>
                  <a:pt x="2240277" y="0"/>
                  <a:pt x="5003799" y="0"/>
                </a:cubicBezTo>
                <a:close/>
              </a:path>
            </a:pathLst>
          </a:cu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 xmlns:a16="http://schemas.microsoft.com/office/drawing/2014/main" id="{67ED3673-C8E9-DF43-9001-977F0131C8FB}"/>
              </a:ext>
            </a:extLst>
          </p:cNvPr>
          <p:cNvSpPr/>
          <p:nvPr/>
        </p:nvSpPr>
        <p:spPr>
          <a:xfrm>
            <a:off x="8945880" y="3611881"/>
            <a:ext cx="3246120" cy="3246121"/>
          </a:xfrm>
          <a:custGeom>
            <a:avLst/>
            <a:gdLst>
              <a:gd name="connsiteX0" fmla="*/ 3246120 w 3246120"/>
              <a:gd name="connsiteY0" fmla="*/ 0 h 3246121"/>
              <a:gd name="connsiteX1" fmla="*/ 3246120 w 3246120"/>
              <a:gd name="connsiteY1" fmla="*/ 3246121 h 3246121"/>
              <a:gd name="connsiteX2" fmla="*/ 0 w 3246120"/>
              <a:gd name="connsiteY2" fmla="*/ 3246121 h 3246121"/>
              <a:gd name="connsiteX3" fmla="*/ 0 w 3246120"/>
              <a:gd name="connsiteY3" fmla="*/ 3246120 h 3246121"/>
              <a:gd name="connsiteX4" fmla="*/ 3246120 w 3246120"/>
              <a:gd name="connsiteY4" fmla="*/ 0 h 324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20" h="3246121">
                <a:moveTo>
                  <a:pt x="3246120" y="0"/>
                </a:moveTo>
                <a:lnTo>
                  <a:pt x="3246120" y="3246121"/>
                </a:lnTo>
                <a:lnTo>
                  <a:pt x="0" y="3246121"/>
                </a:lnTo>
                <a:lnTo>
                  <a:pt x="0" y="3246120"/>
                </a:lnTo>
                <a:cubicBezTo>
                  <a:pt x="0" y="1453337"/>
                  <a:pt x="1453337" y="0"/>
                  <a:pt x="3246120" y="0"/>
                </a:cubicBezTo>
                <a:close/>
              </a:path>
            </a:pathLst>
          </a:custGeom>
          <a:solidFill>
            <a:schemeClr val="accent6">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6" name="Straight Connector 15">
            <a:extLst>
              <a:ext uri="{FF2B5EF4-FFF2-40B4-BE49-F238E27FC236}">
                <a16:creationId xmlns="" xmlns:a16="http://schemas.microsoft.com/office/drawing/2014/main" id="{F9807F79-747D-D149-B244-1E1C260EB4DD}"/>
              </a:ext>
            </a:extLst>
          </p:cNvPr>
          <p:cNvCxnSpPr>
            <a:cxnSpLocks/>
          </p:cNvCxnSpPr>
          <p:nvPr/>
        </p:nvCxnSpPr>
        <p:spPr>
          <a:xfrm flipH="1">
            <a:off x="7687160" y="6248400"/>
            <a:ext cx="131735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 xmlns:a16="http://schemas.microsoft.com/office/drawing/2014/main" id="{9032721B-EFE0-CA43-B14C-99FEE2ADCFBD}"/>
              </a:ext>
            </a:extLst>
          </p:cNvPr>
          <p:cNvSpPr/>
          <p:nvPr/>
        </p:nvSpPr>
        <p:spPr>
          <a:xfrm>
            <a:off x="6849117" y="5891372"/>
            <a:ext cx="714056" cy="71405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 xmlns:a16="http://schemas.microsoft.com/office/drawing/2014/main" id="{AEBCB268-B108-C447-A492-BACFBB6ED445}"/>
              </a:ext>
            </a:extLst>
          </p:cNvPr>
          <p:cNvSpPr/>
          <p:nvPr/>
        </p:nvSpPr>
        <p:spPr>
          <a:xfrm>
            <a:off x="7439187" y="6124415"/>
            <a:ext cx="247972" cy="2479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4" name="Group 23">
            <a:extLst>
              <a:ext uri="{FF2B5EF4-FFF2-40B4-BE49-F238E27FC236}">
                <a16:creationId xmlns="" xmlns:a16="http://schemas.microsoft.com/office/drawing/2014/main" id="{615C8EF4-BE7A-2240-97D0-35182C93178A}"/>
              </a:ext>
            </a:extLst>
          </p:cNvPr>
          <p:cNvGrpSpPr/>
          <p:nvPr/>
        </p:nvGrpSpPr>
        <p:grpSpPr>
          <a:xfrm>
            <a:off x="533400" y="6176056"/>
            <a:ext cx="804758" cy="144689"/>
            <a:chOff x="4455886" y="479425"/>
            <a:chExt cx="804758" cy="144689"/>
          </a:xfrm>
        </p:grpSpPr>
        <p:cxnSp>
          <p:nvCxnSpPr>
            <p:cNvPr id="25" name="Straight Connector 24">
              <a:extLst>
                <a:ext uri="{FF2B5EF4-FFF2-40B4-BE49-F238E27FC236}">
                  <a16:creationId xmlns="" xmlns:a16="http://schemas.microsoft.com/office/drawing/2014/main" id="{FE1CF4CC-0C63-BC49-985C-046A8F157020}"/>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 xmlns:a16="http://schemas.microsoft.com/office/drawing/2014/main" id="{6CB38C0B-9E71-CF4B-A1C3-D4A98E2F3C96}"/>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 xmlns:a16="http://schemas.microsoft.com/office/drawing/2014/main" id="{6D5EF914-2AA5-A648-B8FF-9216ACEB6AA4}"/>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07EA73EE-4645-BD4D-BD31-A72B56E9D955}"/>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A19FAB01-DA59-274C-913E-E6FE1A4476A2}"/>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116DECE3-88A2-DF4E-BF8B-A1589D7B9C11}"/>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 xmlns:a16="http://schemas.microsoft.com/office/drawing/2014/main" id="{FC05C889-F6A6-9747-8D76-00B399714C10}"/>
              </a:ext>
            </a:extLst>
          </p:cNvPr>
          <p:cNvCxnSpPr>
            <a:cxnSpLocks/>
          </p:cNvCxnSpPr>
          <p:nvPr/>
        </p:nvCxnSpPr>
        <p:spPr>
          <a:xfrm flipH="1">
            <a:off x="1" y="6248400"/>
            <a:ext cx="308918"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385564" y="290965"/>
            <a:ext cx="5829706" cy="647452"/>
            <a:chOff x="319878" y="3998260"/>
            <a:chExt cx="4785616" cy="647452"/>
          </a:xfrm>
        </p:grpSpPr>
        <p:sp>
          <p:nvSpPr>
            <p:cNvPr id="33" name="Rectangle 32">
              <a:extLst>
                <a:ext uri="{FF2B5EF4-FFF2-40B4-BE49-F238E27FC236}">
                  <a16:creationId xmlns="" xmlns:a16="http://schemas.microsoft.com/office/drawing/2014/main" id="{741F1DEF-32DD-40D0-B63D-396863A5080A}"/>
                </a:ext>
              </a:extLst>
            </p:cNvPr>
            <p:cNvSpPr/>
            <p:nvPr/>
          </p:nvSpPr>
          <p:spPr>
            <a:xfrm>
              <a:off x="319878" y="4021527"/>
              <a:ext cx="4422107" cy="442804"/>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itle 1"/>
            <p:cNvSpPr txBox="1">
              <a:spLocks/>
            </p:cNvSpPr>
            <p:nvPr/>
          </p:nvSpPr>
          <p:spPr>
            <a:xfrm>
              <a:off x="319879" y="3998260"/>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id-ID" sz="3200" dirty="0" smtClean="0"/>
                <a:t>Kesimpulan </a:t>
              </a:r>
              <a:endParaRPr lang="en-US" sz="3200" dirty="0"/>
            </a:p>
          </p:txBody>
        </p:sp>
      </p:grpSp>
      <p:sp>
        <p:nvSpPr>
          <p:cNvPr id="15367" name="Rectangle 7"/>
          <p:cNvSpPr>
            <a:spLocks noChangeArrowheads="1"/>
          </p:cNvSpPr>
          <p:nvPr/>
        </p:nvSpPr>
        <p:spPr bwMode="auto">
          <a:xfrm>
            <a:off x="401783" y="845128"/>
            <a:ext cx="11525250" cy="310854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514350" marR="0" lvl="0" indent="-514350" algn="just" defTabSz="914400" rtl="0" eaLnBrk="1" fontAlgn="base" latinLnBrk="0" hangingPunct="1">
              <a:lnSpc>
                <a:spcPct val="100000"/>
              </a:lnSpc>
              <a:spcBef>
                <a:spcPct val="0"/>
              </a:spcBef>
              <a:spcAft>
                <a:spcPct val="0"/>
              </a:spcAft>
              <a:buClrTx/>
              <a:buSzTx/>
              <a:buFont typeface="+mj-lt"/>
              <a:buAutoNum type="arabicPeriod"/>
              <a:tabLst/>
            </a:pP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Dengan</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adanya</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sistem</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informasi</a:t>
            </a:r>
            <a:r>
              <a:rPr kumimoji="0" lang="id-ID"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pemesanan</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makanan</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ini</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dapat</a:t>
            </a:r>
            <a:r>
              <a:rPr kumimoji="0" lang="id-ID"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mempermudah</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pelanggan</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dalam</a:t>
            </a:r>
            <a:r>
              <a:rPr kumimoji="0" lang="id-ID"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mengetahui</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informasi</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mengenai</a:t>
            </a:r>
            <a:r>
              <a:rPr kumimoji="0" lang="id-ID"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ketersediaan</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menu.</a:t>
            </a:r>
          </a:p>
          <a:p>
            <a:pPr marL="514350" marR="0" lvl="0" indent="-514350" algn="just" defTabSz="914400" rtl="0" eaLnBrk="0" fontAlgn="base" latinLnBrk="0" hangingPunct="0">
              <a:lnSpc>
                <a:spcPct val="100000"/>
              </a:lnSpc>
              <a:spcBef>
                <a:spcPct val="0"/>
              </a:spcBef>
              <a:spcAft>
                <a:spcPct val="0"/>
              </a:spcAft>
              <a:buClrTx/>
              <a:buSzTx/>
              <a:buFont typeface="+mj-lt"/>
              <a:buAutoNum type="arabicPeriod"/>
              <a:tabLst/>
            </a:pP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Dapat</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mempermudah</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kasir</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dalam</a:t>
            </a:r>
            <a:r>
              <a:rPr kumimoji="0" lang="id-ID"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melakukan</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pembuatan</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laporan</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menu</a:t>
            </a:r>
            <a:r>
              <a:rPr kumimoji="0" lang="id-ID"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pesanan</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a:t>
            </a:r>
          </a:p>
          <a:p>
            <a:pPr marL="514350" marR="0" lvl="0" indent="-514350" algn="just" defTabSz="914400" rtl="0" eaLnBrk="0" fontAlgn="base" latinLnBrk="0" hangingPunct="0">
              <a:lnSpc>
                <a:spcPct val="100000"/>
              </a:lnSpc>
              <a:spcBef>
                <a:spcPct val="0"/>
              </a:spcBef>
              <a:spcAft>
                <a:spcPct val="0"/>
              </a:spcAft>
              <a:buClrTx/>
              <a:buSzTx/>
              <a:buFont typeface="+mj-lt"/>
              <a:buAutoNum type="arabicPeriod"/>
              <a:tabLst/>
            </a:pP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Dapat</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mempermudah</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kasir</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dalam</a:t>
            </a:r>
            <a:r>
              <a:rPr kumimoji="0" lang="id-ID"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melakukan</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pembuatan</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laporan</a:t>
            </a:r>
            <a:r>
              <a:rPr kumimoji="0" lang="id-ID"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pembayaran</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 </a:t>
            </a:r>
            <a:r>
              <a:rPr kumimoji="0" lang="en-US" sz="2800" b="0" i="0" u="none" strike="noStrike" cap="none" normalizeH="0" baseline="0" dirty="0" err="1" smtClean="0">
                <a:ln>
                  <a:noFill/>
                </a:ln>
                <a:solidFill>
                  <a:schemeClr val="bg1"/>
                </a:solidFill>
                <a:effectLst/>
                <a:latin typeface="Segoe UI Historic" pitchFamily="34" charset="0"/>
                <a:ea typeface="Segoe UI Historic" pitchFamily="34" charset="0"/>
                <a:cs typeface="Segoe UI Historic" pitchFamily="34" charset="0"/>
              </a:rPr>
              <a:t>pesanan</a:t>
            </a:r>
            <a:r>
              <a:rPr kumimoji="0" lang="en-US" sz="2800" b="0" i="0" u="none" strike="noStrike" cap="none" normalizeH="0" baseline="0" dirty="0" smtClean="0">
                <a:ln>
                  <a:noFill/>
                </a:ln>
                <a:solidFill>
                  <a:schemeClr val="bg1"/>
                </a:solidFill>
                <a:effectLst/>
                <a:latin typeface="Segoe UI Historic" pitchFamily="34" charset="0"/>
                <a:ea typeface="Segoe UI Historic" pitchFamily="34" charset="0"/>
                <a:cs typeface="Segoe UI Historic" pitchFamily="34" charset="0"/>
              </a:rPr>
              <a:t>.</a:t>
            </a:r>
          </a:p>
        </p:txBody>
      </p:sp>
    </p:spTree>
    <p:extLst>
      <p:ext uri="{BB962C8B-B14F-4D97-AF65-F5344CB8AC3E}">
        <p14:creationId xmlns="" xmlns:p14="http://schemas.microsoft.com/office/powerpoint/2010/main" val="14560013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 name="Object 103" hidden="1">
            <a:extLst>
              <a:ext uri="{FF2B5EF4-FFF2-40B4-BE49-F238E27FC236}">
                <a16:creationId xmlns="" xmlns:a16="http://schemas.microsoft.com/office/drawing/2014/main" id="{0F5436C6-62E2-2B4A-8F8D-5BA918D97A98}"/>
              </a:ext>
            </a:extLst>
          </p:cNvPr>
          <p:cNvGraphicFramePr>
            <a:graphicFrameLocks noChangeAspect="1"/>
          </p:cNvGraphicFramePr>
          <p:nvPr>
            <p:custDataLst>
              <p:tags r:id="rId2"/>
            </p:custDataLst>
            <p:extLst>
              <p:ext uri="{D42A27DB-BD31-4B8C-83A1-F6EECF244321}">
                <p14:modId xmlns="" xmlns:p14="http://schemas.microsoft.com/office/powerpoint/2010/main" val="3689012666"/>
              </p:ext>
            </p:extLst>
          </p:nvPr>
        </p:nvGraphicFramePr>
        <p:xfrm>
          <a:off x="1588" y="1588"/>
          <a:ext cx="1227" cy="1588"/>
        </p:xfrm>
        <a:graphic>
          <a:graphicData uri="http://schemas.openxmlformats.org/presentationml/2006/ole">
            <p:oleObj spid="_x0000_s33794" name="think-cell Slide" r:id="rId5" imgW="7761960" imgH="10047960" progId="">
              <p:embed/>
            </p:oleObj>
          </a:graphicData>
        </a:graphic>
      </p:graphicFrame>
      <p:pic>
        <p:nvPicPr>
          <p:cNvPr id="2" name="Picture 1">
            <a:extLst>
              <a:ext uri="{FF2B5EF4-FFF2-40B4-BE49-F238E27FC236}">
                <a16:creationId xmlns="" xmlns:a16="http://schemas.microsoft.com/office/drawing/2014/main" id="{C248CE79-C14E-AB4A-B576-2875631AA9E8}"/>
              </a:ext>
            </a:extLst>
          </p:cNvPr>
          <p:cNvPicPr>
            <a:picLocks noChangeAspect="1"/>
          </p:cNvPicPr>
          <p:nvPr/>
        </p:nvPicPr>
        <p:blipFill rotWithShape="1">
          <a:blip r:embed="rId6">
            <a:extLst>
              <a:ext uri="{BEBA8EAE-BF5A-486C-A8C5-ECC9F3942E4B}">
                <a14:imgProps xmlns="" xmlns:a14="http://schemas.microsoft.com/office/drawing/2010/main">
                  <a14:imgLayer r:embed="rId8">
                    <a14:imgEffect>
                      <a14:saturation sat="0"/>
                    </a14:imgEffect>
                  </a14:imgLayer>
                </a14:imgProps>
              </a:ext>
              <a:ext uri="{28A0092B-C50C-407E-A947-70E740481C1C}">
                <a14:useLocalDpi xmlns="" xmlns:a14="http://schemas.microsoft.com/office/drawing/2010/main" val="0"/>
              </a:ext>
            </a:extLst>
          </a:blip>
          <a:srcRect t="7813" b="7813"/>
          <a:stretch/>
        </p:blipFill>
        <p:spPr>
          <a:xfrm>
            <a:off x="0" y="0"/>
            <a:ext cx="12192000" cy="6858000"/>
          </a:xfrm>
          <a:prstGeom prst="rect">
            <a:avLst/>
          </a:prstGeom>
        </p:spPr>
      </p:pic>
      <p:sp>
        <p:nvSpPr>
          <p:cNvPr id="117" name="Freeform 116">
            <a:extLst>
              <a:ext uri="{FF2B5EF4-FFF2-40B4-BE49-F238E27FC236}">
                <a16:creationId xmlns="" xmlns:a16="http://schemas.microsoft.com/office/drawing/2014/main" id="{2925369B-0BBF-914B-836F-62B20A99D67E}"/>
              </a:ext>
            </a:extLst>
          </p:cNvPr>
          <p:cNvSpPr/>
          <p:nvPr/>
        </p:nvSpPr>
        <p:spPr>
          <a:xfrm>
            <a:off x="0" y="-13252"/>
            <a:ext cx="12192000" cy="6858000"/>
          </a:xfrm>
          <a:custGeom>
            <a:avLst/>
            <a:gdLst>
              <a:gd name="connsiteX0" fmla="*/ 0 w 12192000"/>
              <a:gd name="connsiteY0" fmla="*/ 0 h 6858000"/>
              <a:gd name="connsiteX1" fmla="*/ 12192000 w 12192000"/>
              <a:gd name="connsiteY1" fmla="*/ 0 h 6858000"/>
              <a:gd name="connsiteX2" fmla="*/ 12192000 w 12192000"/>
              <a:gd name="connsiteY2" fmla="*/ 5116025 h 6858000"/>
              <a:gd name="connsiteX3" fmla="*/ 12155345 w 12192000"/>
              <a:gd name="connsiteY3" fmla="*/ 5082711 h 6858000"/>
              <a:gd name="connsiteX4" fmla="*/ 11362704 w 12192000"/>
              <a:gd name="connsiteY4" fmla="*/ 4798160 h 6858000"/>
              <a:gd name="connsiteX5" fmla="*/ 10116595 w 12192000"/>
              <a:gd name="connsiteY5" fmla="*/ 6044269 h 6858000"/>
              <a:gd name="connsiteX6" fmla="*/ 10401146 w 12192000"/>
              <a:gd name="connsiteY6" fmla="*/ 6836910 h 6858000"/>
              <a:gd name="connsiteX7" fmla="*/ 10420314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5116025"/>
                </a:lnTo>
                <a:lnTo>
                  <a:pt x="12155345" y="5082711"/>
                </a:lnTo>
                <a:cubicBezTo>
                  <a:pt x="11939944" y="4904946"/>
                  <a:pt x="11663795" y="4798160"/>
                  <a:pt x="11362704" y="4798160"/>
                </a:cubicBezTo>
                <a:cubicBezTo>
                  <a:pt x="10674497" y="4798160"/>
                  <a:pt x="10116595" y="5356062"/>
                  <a:pt x="10116595" y="6044269"/>
                </a:cubicBezTo>
                <a:cubicBezTo>
                  <a:pt x="10116595" y="6345360"/>
                  <a:pt x="10223381" y="6621509"/>
                  <a:pt x="10401146" y="6836910"/>
                </a:cubicBezTo>
                <a:lnTo>
                  <a:pt x="10420314" y="6858000"/>
                </a:lnTo>
                <a:lnTo>
                  <a:pt x="0" y="6858000"/>
                </a:lnTo>
                <a:close/>
              </a:path>
            </a:pathLst>
          </a:custGeom>
          <a:gradFill flip="none" rotWithShape="1">
            <a:gsLst>
              <a:gs pos="0">
                <a:schemeClr val="tx1">
                  <a:alpha val="90000"/>
                </a:schemeClr>
              </a:gs>
              <a:gs pos="100000">
                <a:schemeClr val="tx1">
                  <a:alpha val="95000"/>
                </a:schemeClr>
              </a:gs>
              <a:gs pos="48000">
                <a:schemeClr val="tx1">
                  <a:alpha val="7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13" name="Oval 112">
            <a:extLst>
              <a:ext uri="{FF2B5EF4-FFF2-40B4-BE49-F238E27FC236}">
                <a16:creationId xmlns="" xmlns:a16="http://schemas.microsoft.com/office/drawing/2014/main" id="{67D2D5C0-68B6-6040-9B8A-FB188CDBF3F1}"/>
              </a:ext>
            </a:extLst>
          </p:cNvPr>
          <p:cNvSpPr/>
          <p:nvPr/>
        </p:nvSpPr>
        <p:spPr>
          <a:xfrm flipH="1">
            <a:off x="10879772" y="5561337"/>
            <a:ext cx="965864" cy="965864"/>
          </a:xfrm>
          <a:prstGeom prst="ellipse">
            <a:avLst/>
          </a:prstGeom>
          <a:pattFill prst="dkUpDiag">
            <a:fgClr>
              <a:schemeClr val="accent6"/>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1" name="Oval 100">
            <a:extLst>
              <a:ext uri="{FF2B5EF4-FFF2-40B4-BE49-F238E27FC236}">
                <a16:creationId xmlns="" xmlns:a16="http://schemas.microsoft.com/office/drawing/2014/main" id="{D129E2FC-CA83-8B43-9AED-F29DAA0A2B26}"/>
              </a:ext>
            </a:extLst>
          </p:cNvPr>
          <p:cNvSpPr/>
          <p:nvPr/>
        </p:nvSpPr>
        <p:spPr>
          <a:xfrm flipV="1">
            <a:off x="10259352" y="4957602"/>
            <a:ext cx="422118" cy="42211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Freeform 125">
            <a:extLst>
              <a:ext uri="{FF2B5EF4-FFF2-40B4-BE49-F238E27FC236}">
                <a16:creationId xmlns="" xmlns:a16="http://schemas.microsoft.com/office/drawing/2014/main" id="{0A8D5655-D565-3D41-9023-7A49179ECD58}"/>
              </a:ext>
            </a:extLst>
          </p:cNvPr>
          <p:cNvSpPr/>
          <p:nvPr/>
        </p:nvSpPr>
        <p:spPr>
          <a:xfrm flipH="1">
            <a:off x="9316695" y="3998260"/>
            <a:ext cx="2875305" cy="2859741"/>
          </a:xfrm>
          <a:custGeom>
            <a:avLst/>
            <a:gdLst>
              <a:gd name="connsiteX0" fmla="*/ 829295 w 2875305"/>
              <a:gd name="connsiteY0" fmla="*/ 0 h 2859741"/>
              <a:gd name="connsiteX1" fmla="*/ 32896 w 2875305"/>
              <a:gd name="connsiteY1" fmla="*/ 160786 h 2859741"/>
              <a:gd name="connsiteX2" fmla="*/ 0 w 2875305"/>
              <a:gd name="connsiteY2" fmla="*/ 176632 h 2859741"/>
              <a:gd name="connsiteX3" fmla="*/ 0 w 2875305"/>
              <a:gd name="connsiteY3" fmla="*/ 2859741 h 2859741"/>
              <a:gd name="connsiteX4" fmla="*/ 2706170 w 2875305"/>
              <a:gd name="connsiteY4" fmla="*/ 2859741 h 2859741"/>
              <a:gd name="connsiteX5" fmla="*/ 2714519 w 2875305"/>
              <a:gd name="connsiteY5" fmla="*/ 2842410 h 2859741"/>
              <a:gd name="connsiteX6" fmla="*/ 2875305 w 2875305"/>
              <a:gd name="connsiteY6" fmla="*/ 2046010 h 2859741"/>
              <a:gd name="connsiteX7" fmla="*/ 829295 w 2875305"/>
              <a:gd name="connsiteY7" fmla="*/ 0 h 2859741"/>
              <a:gd name="connsiteX0" fmla="*/ 0 w 2875305"/>
              <a:gd name="connsiteY0" fmla="*/ 2859741 h 2951181"/>
              <a:gd name="connsiteX1" fmla="*/ 2706170 w 2875305"/>
              <a:gd name="connsiteY1" fmla="*/ 2859741 h 2951181"/>
              <a:gd name="connsiteX2" fmla="*/ 2714519 w 2875305"/>
              <a:gd name="connsiteY2" fmla="*/ 2842410 h 2951181"/>
              <a:gd name="connsiteX3" fmla="*/ 2875305 w 2875305"/>
              <a:gd name="connsiteY3" fmla="*/ 2046010 h 2951181"/>
              <a:gd name="connsiteX4" fmla="*/ 829295 w 2875305"/>
              <a:gd name="connsiteY4" fmla="*/ 0 h 2951181"/>
              <a:gd name="connsiteX5" fmla="*/ 32896 w 2875305"/>
              <a:gd name="connsiteY5" fmla="*/ 160786 h 2951181"/>
              <a:gd name="connsiteX6" fmla="*/ 0 w 2875305"/>
              <a:gd name="connsiteY6" fmla="*/ 176632 h 2951181"/>
              <a:gd name="connsiteX7" fmla="*/ 91440 w 2875305"/>
              <a:gd name="connsiteY7" fmla="*/ 2951181 h 2951181"/>
              <a:gd name="connsiteX0" fmla="*/ 0 w 2875305"/>
              <a:gd name="connsiteY0" fmla="*/ 2859741 h 2859741"/>
              <a:gd name="connsiteX1" fmla="*/ 2706170 w 2875305"/>
              <a:gd name="connsiteY1" fmla="*/ 2859741 h 2859741"/>
              <a:gd name="connsiteX2" fmla="*/ 2714519 w 2875305"/>
              <a:gd name="connsiteY2" fmla="*/ 2842410 h 2859741"/>
              <a:gd name="connsiteX3" fmla="*/ 2875305 w 2875305"/>
              <a:gd name="connsiteY3" fmla="*/ 2046010 h 2859741"/>
              <a:gd name="connsiteX4" fmla="*/ 829295 w 2875305"/>
              <a:gd name="connsiteY4" fmla="*/ 0 h 2859741"/>
              <a:gd name="connsiteX5" fmla="*/ 32896 w 2875305"/>
              <a:gd name="connsiteY5" fmla="*/ 160786 h 2859741"/>
              <a:gd name="connsiteX6" fmla="*/ 0 w 2875305"/>
              <a:gd name="connsiteY6" fmla="*/ 176632 h 2859741"/>
              <a:gd name="connsiteX0" fmla="*/ 2706170 w 2875305"/>
              <a:gd name="connsiteY0" fmla="*/ 2859741 h 2859741"/>
              <a:gd name="connsiteX1" fmla="*/ 2714519 w 2875305"/>
              <a:gd name="connsiteY1" fmla="*/ 2842410 h 2859741"/>
              <a:gd name="connsiteX2" fmla="*/ 2875305 w 2875305"/>
              <a:gd name="connsiteY2" fmla="*/ 2046010 h 2859741"/>
              <a:gd name="connsiteX3" fmla="*/ 829295 w 2875305"/>
              <a:gd name="connsiteY3" fmla="*/ 0 h 2859741"/>
              <a:gd name="connsiteX4" fmla="*/ 32896 w 2875305"/>
              <a:gd name="connsiteY4" fmla="*/ 160786 h 2859741"/>
              <a:gd name="connsiteX5" fmla="*/ 0 w 2875305"/>
              <a:gd name="connsiteY5" fmla="*/ 176632 h 285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5305" h="2859741">
                <a:moveTo>
                  <a:pt x="2706170" y="2859741"/>
                </a:moveTo>
                <a:lnTo>
                  <a:pt x="2714519" y="2842410"/>
                </a:lnTo>
                <a:cubicBezTo>
                  <a:pt x="2818053" y="2597628"/>
                  <a:pt x="2875305" y="2328505"/>
                  <a:pt x="2875305" y="2046010"/>
                </a:cubicBezTo>
                <a:cubicBezTo>
                  <a:pt x="2875305" y="916030"/>
                  <a:pt x="1959275" y="0"/>
                  <a:pt x="829295" y="0"/>
                </a:cubicBezTo>
                <a:cubicBezTo>
                  <a:pt x="546800" y="0"/>
                  <a:pt x="277677" y="57252"/>
                  <a:pt x="32896" y="160786"/>
                </a:cubicBezTo>
                <a:lnTo>
                  <a:pt x="0" y="176632"/>
                </a:lnTo>
              </a:path>
            </a:pathLst>
          </a:cu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3" name="Group 126">
            <a:extLst>
              <a:ext uri="{FF2B5EF4-FFF2-40B4-BE49-F238E27FC236}">
                <a16:creationId xmlns="" xmlns:a16="http://schemas.microsoft.com/office/drawing/2014/main" id="{371AB89A-BBD2-D048-A0DC-8B24D912A264}"/>
              </a:ext>
            </a:extLst>
          </p:cNvPr>
          <p:cNvGrpSpPr/>
          <p:nvPr/>
        </p:nvGrpSpPr>
        <p:grpSpPr>
          <a:xfrm>
            <a:off x="533400" y="6176056"/>
            <a:ext cx="804758" cy="144689"/>
            <a:chOff x="4455886" y="479425"/>
            <a:chExt cx="804758" cy="144689"/>
          </a:xfrm>
        </p:grpSpPr>
        <p:cxnSp>
          <p:nvCxnSpPr>
            <p:cNvPr id="128" name="Straight Connector 127">
              <a:extLst>
                <a:ext uri="{FF2B5EF4-FFF2-40B4-BE49-F238E27FC236}">
                  <a16:creationId xmlns="" xmlns:a16="http://schemas.microsoft.com/office/drawing/2014/main" id="{36A5567F-B1F4-4E4B-A3F6-5FE14F655221}"/>
                </a:ext>
              </a:extLst>
            </p:cNvPr>
            <p:cNvCxnSpPr>
              <a:cxnSpLocks/>
            </p:cNvCxnSpPr>
            <p:nvPr/>
          </p:nvCxnSpPr>
          <p:spPr>
            <a:xfrm flipH="1">
              <a:off x="445588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 xmlns:a16="http://schemas.microsoft.com/office/drawing/2014/main" id="{F131D155-FD30-A54C-90D8-7BD7BE3A0616}"/>
                </a:ext>
              </a:extLst>
            </p:cNvPr>
            <p:cNvCxnSpPr>
              <a:cxnSpLocks/>
            </p:cNvCxnSpPr>
            <p:nvPr/>
          </p:nvCxnSpPr>
          <p:spPr>
            <a:xfrm flipH="1">
              <a:off x="460384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 xmlns:a16="http://schemas.microsoft.com/office/drawing/2014/main" id="{6ACE3126-1422-1745-BBB0-76209E0E4423}"/>
                </a:ext>
              </a:extLst>
            </p:cNvPr>
            <p:cNvCxnSpPr>
              <a:cxnSpLocks/>
            </p:cNvCxnSpPr>
            <p:nvPr/>
          </p:nvCxnSpPr>
          <p:spPr>
            <a:xfrm flipH="1">
              <a:off x="475179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 xmlns:a16="http://schemas.microsoft.com/office/drawing/2014/main" id="{A6A2B208-1B76-2744-BACC-12386F966203}"/>
                </a:ext>
              </a:extLst>
            </p:cNvPr>
            <p:cNvCxnSpPr>
              <a:cxnSpLocks/>
            </p:cNvCxnSpPr>
            <p:nvPr/>
          </p:nvCxnSpPr>
          <p:spPr>
            <a:xfrm flipH="1">
              <a:off x="489975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 xmlns:a16="http://schemas.microsoft.com/office/drawing/2014/main" id="{8E97F3C5-DF2A-4D46-B0A8-9E951D528068}"/>
                </a:ext>
              </a:extLst>
            </p:cNvPr>
            <p:cNvCxnSpPr>
              <a:cxnSpLocks/>
            </p:cNvCxnSpPr>
            <p:nvPr/>
          </p:nvCxnSpPr>
          <p:spPr>
            <a:xfrm flipH="1">
              <a:off x="5047706"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 xmlns:a16="http://schemas.microsoft.com/office/drawing/2014/main" id="{42FFC46F-1930-2649-9BAB-7FD77F36A1AD}"/>
                </a:ext>
              </a:extLst>
            </p:cNvPr>
            <p:cNvCxnSpPr>
              <a:cxnSpLocks/>
            </p:cNvCxnSpPr>
            <p:nvPr/>
          </p:nvCxnSpPr>
          <p:spPr>
            <a:xfrm flipH="1">
              <a:off x="5195661" y="479425"/>
              <a:ext cx="64983" cy="14468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134" name="Straight Connector 133">
            <a:extLst>
              <a:ext uri="{FF2B5EF4-FFF2-40B4-BE49-F238E27FC236}">
                <a16:creationId xmlns="" xmlns:a16="http://schemas.microsoft.com/office/drawing/2014/main" id="{B1FFFDB5-BCE0-5445-804F-10C5612D20B8}"/>
              </a:ext>
            </a:extLst>
          </p:cNvPr>
          <p:cNvCxnSpPr>
            <a:cxnSpLocks/>
          </p:cNvCxnSpPr>
          <p:nvPr/>
        </p:nvCxnSpPr>
        <p:spPr>
          <a:xfrm flipH="1">
            <a:off x="1" y="6248400"/>
            <a:ext cx="308918"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4" name="Group 134">
            <a:extLst>
              <a:ext uri="{FF2B5EF4-FFF2-40B4-BE49-F238E27FC236}">
                <a16:creationId xmlns="" xmlns:a16="http://schemas.microsoft.com/office/drawing/2014/main" id="{9CAA3E98-8587-7046-80A2-F5F0912C02FB}"/>
              </a:ext>
            </a:extLst>
          </p:cNvPr>
          <p:cNvGrpSpPr/>
          <p:nvPr/>
        </p:nvGrpSpPr>
        <p:grpSpPr>
          <a:xfrm rot="16200000">
            <a:off x="10369639" y="978843"/>
            <a:ext cx="1729654" cy="848268"/>
            <a:chOff x="233739" y="283295"/>
            <a:chExt cx="1729654" cy="848268"/>
          </a:xfrm>
          <a:gradFill>
            <a:gsLst>
              <a:gs pos="100000">
                <a:schemeClr val="accent6"/>
              </a:gs>
              <a:gs pos="0">
                <a:schemeClr val="tx1">
                  <a:alpha val="0"/>
                </a:schemeClr>
              </a:gs>
            </a:gsLst>
            <a:lin ang="0" scaled="1"/>
          </a:gradFill>
        </p:grpSpPr>
        <p:grpSp>
          <p:nvGrpSpPr>
            <p:cNvPr id="5" name="Group 135">
              <a:extLst>
                <a:ext uri="{FF2B5EF4-FFF2-40B4-BE49-F238E27FC236}">
                  <a16:creationId xmlns="" xmlns:a16="http://schemas.microsoft.com/office/drawing/2014/main" id="{E0796E17-633B-CD40-9252-FB39556BF97B}"/>
                </a:ext>
              </a:extLst>
            </p:cNvPr>
            <p:cNvGrpSpPr/>
            <p:nvPr/>
          </p:nvGrpSpPr>
          <p:grpSpPr>
            <a:xfrm rot="5400000">
              <a:off x="1055270" y="-538236"/>
              <a:ext cx="86591" cy="1729654"/>
              <a:chOff x="85292" y="59892"/>
              <a:chExt cx="86591" cy="1729654"/>
            </a:xfrm>
            <a:grpFill/>
          </p:grpSpPr>
          <p:sp>
            <p:nvSpPr>
              <p:cNvPr id="170" name="Oval 169">
                <a:extLst>
                  <a:ext uri="{FF2B5EF4-FFF2-40B4-BE49-F238E27FC236}">
                    <a16:creationId xmlns="" xmlns:a16="http://schemas.microsoft.com/office/drawing/2014/main" id="{A6FDA1B8-0821-3949-A1BF-7133897B3731}"/>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Oval 170">
                <a:extLst>
                  <a:ext uri="{FF2B5EF4-FFF2-40B4-BE49-F238E27FC236}">
                    <a16:creationId xmlns="" xmlns:a16="http://schemas.microsoft.com/office/drawing/2014/main" id="{BA013AB6-DD3D-9041-850A-6BBD732825C4}"/>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Oval 171">
                <a:extLst>
                  <a:ext uri="{FF2B5EF4-FFF2-40B4-BE49-F238E27FC236}">
                    <a16:creationId xmlns="" xmlns:a16="http://schemas.microsoft.com/office/drawing/2014/main" id="{858D9F5E-D899-4B4C-94AC-EDC4EFF2C669}"/>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Oval 172">
                <a:extLst>
                  <a:ext uri="{FF2B5EF4-FFF2-40B4-BE49-F238E27FC236}">
                    <a16:creationId xmlns="" xmlns:a16="http://schemas.microsoft.com/office/drawing/2014/main" id="{453CC583-EF4D-C74F-8C99-C47941A924D1}"/>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Oval 173">
                <a:extLst>
                  <a:ext uri="{FF2B5EF4-FFF2-40B4-BE49-F238E27FC236}">
                    <a16:creationId xmlns="" xmlns:a16="http://schemas.microsoft.com/office/drawing/2014/main" id="{57BCA4A3-C5CA-7A4A-811D-ACE8BE592B76}"/>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Oval 174">
                <a:extLst>
                  <a:ext uri="{FF2B5EF4-FFF2-40B4-BE49-F238E27FC236}">
                    <a16:creationId xmlns="" xmlns:a16="http://schemas.microsoft.com/office/drawing/2014/main" id="{BB689BCF-0953-254E-8546-43371557FA51}"/>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 xmlns:a16="http://schemas.microsoft.com/office/drawing/2014/main" id="{1D33948F-7847-5C41-AF47-D8A3ED6A97AF}"/>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 xmlns:a16="http://schemas.microsoft.com/office/drawing/2014/main" id="{12868000-4181-3F40-AD40-8767C859C549}"/>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 xmlns:a16="http://schemas.microsoft.com/office/drawing/2014/main" id="{84AA02DD-4D3B-684B-AD8A-F4E61E9E21C8}"/>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 xmlns:a16="http://schemas.microsoft.com/office/drawing/2014/main" id="{3F445F1C-51FF-704E-A634-F5C91EBEA7E2}"/>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136">
              <a:extLst>
                <a:ext uri="{FF2B5EF4-FFF2-40B4-BE49-F238E27FC236}">
                  <a16:creationId xmlns="" xmlns:a16="http://schemas.microsoft.com/office/drawing/2014/main" id="{BB1F0A80-CC1E-CF42-B70C-AF19597025F6}"/>
                </a:ext>
              </a:extLst>
            </p:cNvPr>
            <p:cNvGrpSpPr/>
            <p:nvPr/>
          </p:nvGrpSpPr>
          <p:grpSpPr>
            <a:xfrm rot="5400000">
              <a:off x="1055270" y="-284344"/>
              <a:ext cx="86591" cy="1729654"/>
              <a:chOff x="85292" y="59892"/>
              <a:chExt cx="86591" cy="1729654"/>
            </a:xfrm>
            <a:grpFill/>
          </p:grpSpPr>
          <p:sp>
            <p:nvSpPr>
              <p:cNvPr id="160" name="Oval 159">
                <a:extLst>
                  <a:ext uri="{FF2B5EF4-FFF2-40B4-BE49-F238E27FC236}">
                    <a16:creationId xmlns="" xmlns:a16="http://schemas.microsoft.com/office/drawing/2014/main" id="{B93514E1-CC1C-C44E-A482-C2B72159CC03}"/>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Oval 160">
                <a:extLst>
                  <a:ext uri="{FF2B5EF4-FFF2-40B4-BE49-F238E27FC236}">
                    <a16:creationId xmlns="" xmlns:a16="http://schemas.microsoft.com/office/drawing/2014/main" id="{F8D9340F-CCD8-B64A-AB4F-5B99C92118CD}"/>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Oval 161">
                <a:extLst>
                  <a:ext uri="{FF2B5EF4-FFF2-40B4-BE49-F238E27FC236}">
                    <a16:creationId xmlns="" xmlns:a16="http://schemas.microsoft.com/office/drawing/2014/main" id="{5BC2A360-0F80-3F4F-BE72-4A8324B5B350}"/>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Oval 162">
                <a:extLst>
                  <a:ext uri="{FF2B5EF4-FFF2-40B4-BE49-F238E27FC236}">
                    <a16:creationId xmlns="" xmlns:a16="http://schemas.microsoft.com/office/drawing/2014/main" id="{8A6A7E71-6C47-A44B-B856-E3A529CDFD26}"/>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Oval 163">
                <a:extLst>
                  <a:ext uri="{FF2B5EF4-FFF2-40B4-BE49-F238E27FC236}">
                    <a16:creationId xmlns="" xmlns:a16="http://schemas.microsoft.com/office/drawing/2014/main" id="{27EE0B55-72C7-DE4E-A9DC-93EE752FBAB3}"/>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Oval 164">
                <a:extLst>
                  <a:ext uri="{FF2B5EF4-FFF2-40B4-BE49-F238E27FC236}">
                    <a16:creationId xmlns="" xmlns:a16="http://schemas.microsoft.com/office/drawing/2014/main" id="{4F4E5095-07F5-CC4E-8FC4-72747BD2B46A}"/>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Oval 165">
                <a:extLst>
                  <a:ext uri="{FF2B5EF4-FFF2-40B4-BE49-F238E27FC236}">
                    <a16:creationId xmlns="" xmlns:a16="http://schemas.microsoft.com/office/drawing/2014/main" id="{EA503072-CEB8-274B-8532-9129574AC178}"/>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Oval 166">
                <a:extLst>
                  <a:ext uri="{FF2B5EF4-FFF2-40B4-BE49-F238E27FC236}">
                    <a16:creationId xmlns="" xmlns:a16="http://schemas.microsoft.com/office/drawing/2014/main" id="{A95021C5-B28F-6245-BF39-5D14A4E9936F}"/>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Oval 167">
                <a:extLst>
                  <a:ext uri="{FF2B5EF4-FFF2-40B4-BE49-F238E27FC236}">
                    <a16:creationId xmlns="" xmlns:a16="http://schemas.microsoft.com/office/drawing/2014/main" id="{AC1DD574-9A4E-4648-87A7-A3A9376F6757}"/>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Oval 168">
                <a:extLst>
                  <a:ext uri="{FF2B5EF4-FFF2-40B4-BE49-F238E27FC236}">
                    <a16:creationId xmlns="" xmlns:a16="http://schemas.microsoft.com/office/drawing/2014/main" id="{F23DDC1C-ED9E-EF40-B8F0-1C14503BEEFD}"/>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137">
              <a:extLst>
                <a:ext uri="{FF2B5EF4-FFF2-40B4-BE49-F238E27FC236}">
                  <a16:creationId xmlns="" xmlns:a16="http://schemas.microsoft.com/office/drawing/2014/main" id="{4971295C-6026-E843-9D9D-A34F28EE344A}"/>
                </a:ext>
              </a:extLst>
            </p:cNvPr>
            <p:cNvGrpSpPr/>
            <p:nvPr/>
          </p:nvGrpSpPr>
          <p:grpSpPr>
            <a:xfrm rot="5400000">
              <a:off x="1055270" y="-30452"/>
              <a:ext cx="86591" cy="1729654"/>
              <a:chOff x="85292" y="59892"/>
              <a:chExt cx="86591" cy="1729654"/>
            </a:xfrm>
            <a:grpFill/>
          </p:grpSpPr>
          <p:sp>
            <p:nvSpPr>
              <p:cNvPr id="150" name="Oval 149">
                <a:extLst>
                  <a:ext uri="{FF2B5EF4-FFF2-40B4-BE49-F238E27FC236}">
                    <a16:creationId xmlns="" xmlns:a16="http://schemas.microsoft.com/office/drawing/2014/main" id="{1D4B35CD-303E-5F41-8107-C04E836563EB}"/>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Oval 150">
                <a:extLst>
                  <a:ext uri="{FF2B5EF4-FFF2-40B4-BE49-F238E27FC236}">
                    <a16:creationId xmlns="" xmlns:a16="http://schemas.microsoft.com/office/drawing/2014/main" id="{78F6F04E-C214-3C40-8858-B5FFADA90D72}"/>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Oval 151">
                <a:extLst>
                  <a:ext uri="{FF2B5EF4-FFF2-40B4-BE49-F238E27FC236}">
                    <a16:creationId xmlns="" xmlns:a16="http://schemas.microsoft.com/office/drawing/2014/main" id="{68C9D4CB-25D6-B741-BB4D-6C8A15160E26}"/>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Oval 152">
                <a:extLst>
                  <a:ext uri="{FF2B5EF4-FFF2-40B4-BE49-F238E27FC236}">
                    <a16:creationId xmlns="" xmlns:a16="http://schemas.microsoft.com/office/drawing/2014/main" id="{2070ED02-D30B-BA45-8490-8A251370E223}"/>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Oval 153">
                <a:extLst>
                  <a:ext uri="{FF2B5EF4-FFF2-40B4-BE49-F238E27FC236}">
                    <a16:creationId xmlns="" xmlns:a16="http://schemas.microsoft.com/office/drawing/2014/main" id="{69F6B071-5D22-3C4C-8D6B-177B2682201C}"/>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Oval 154">
                <a:extLst>
                  <a:ext uri="{FF2B5EF4-FFF2-40B4-BE49-F238E27FC236}">
                    <a16:creationId xmlns="" xmlns:a16="http://schemas.microsoft.com/office/drawing/2014/main" id="{61238F9B-5DC2-F54E-828D-3F1C62FC4340}"/>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Oval 155">
                <a:extLst>
                  <a:ext uri="{FF2B5EF4-FFF2-40B4-BE49-F238E27FC236}">
                    <a16:creationId xmlns="" xmlns:a16="http://schemas.microsoft.com/office/drawing/2014/main" id="{13FFDD11-424E-5942-B8D0-29EAB882474A}"/>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Oval 156">
                <a:extLst>
                  <a:ext uri="{FF2B5EF4-FFF2-40B4-BE49-F238E27FC236}">
                    <a16:creationId xmlns="" xmlns:a16="http://schemas.microsoft.com/office/drawing/2014/main" id="{A93CA636-D4E0-2A42-89B9-2078204CB098}"/>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Oval 157">
                <a:extLst>
                  <a:ext uri="{FF2B5EF4-FFF2-40B4-BE49-F238E27FC236}">
                    <a16:creationId xmlns="" xmlns:a16="http://schemas.microsoft.com/office/drawing/2014/main" id="{86724194-E826-CB46-8D5B-34CD0BDECC15}"/>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a:extLst>
                  <a:ext uri="{FF2B5EF4-FFF2-40B4-BE49-F238E27FC236}">
                    <a16:creationId xmlns="" xmlns:a16="http://schemas.microsoft.com/office/drawing/2014/main" id="{BBD69B53-19C6-C745-A764-E1A4527A7D16}"/>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 name="Group 138">
              <a:extLst>
                <a:ext uri="{FF2B5EF4-FFF2-40B4-BE49-F238E27FC236}">
                  <a16:creationId xmlns="" xmlns:a16="http://schemas.microsoft.com/office/drawing/2014/main" id="{C1B1FF87-1776-CC49-AE5A-70C5F0C8247C}"/>
                </a:ext>
              </a:extLst>
            </p:cNvPr>
            <p:cNvGrpSpPr/>
            <p:nvPr/>
          </p:nvGrpSpPr>
          <p:grpSpPr>
            <a:xfrm rot="5400000">
              <a:off x="1055270" y="223441"/>
              <a:ext cx="86591" cy="1729654"/>
              <a:chOff x="85292" y="59892"/>
              <a:chExt cx="86591" cy="1729654"/>
            </a:xfrm>
            <a:grpFill/>
          </p:grpSpPr>
          <p:sp>
            <p:nvSpPr>
              <p:cNvPr id="140" name="Oval 139">
                <a:extLst>
                  <a:ext uri="{FF2B5EF4-FFF2-40B4-BE49-F238E27FC236}">
                    <a16:creationId xmlns="" xmlns:a16="http://schemas.microsoft.com/office/drawing/2014/main" id="{52895DEC-3BFE-D149-8D78-BEE7197BE285}"/>
                  </a:ext>
                </a:extLst>
              </p:cNvPr>
              <p:cNvSpPr/>
              <p:nvPr/>
            </p:nvSpPr>
            <p:spPr>
              <a:xfrm>
                <a:off x="85292" y="59892"/>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a:extLst>
                  <a:ext uri="{FF2B5EF4-FFF2-40B4-BE49-F238E27FC236}">
                    <a16:creationId xmlns="" xmlns:a16="http://schemas.microsoft.com/office/drawing/2014/main" id="{B323F1A2-F6A4-524A-A16A-6D597C58A14E}"/>
                  </a:ext>
                </a:extLst>
              </p:cNvPr>
              <p:cNvSpPr/>
              <p:nvPr/>
            </p:nvSpPr>
            <p:spPr>
              <a:xfrm>
                <a:off x="85292" y="2424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Oval 141">
                <a:extLst>
                  <a:ext uri="{FF2B5EF4-FFF2-40B4-BE49-F238E27FC236}">
                    <a16:creationId xmlns="" xmlns:a16="http://schemas.microsoft.com/office/drawing/2014/main" id="{A9230942-78B2-6146-9604-96F7038F74E3}"/>
                  </a:ext>
                </a:extLst>
              </p:cNvPr>
              <p:cNvSpPr/>
              <p:nvPr/>
            </p:nvSpPr>
            <p:spPr>
              <a:xfrm>
                <a:off x="85292" y="425018"/>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Oval 142">
                <a:extLst>
                  <a:ext uri="{FF2B5EF4-FFF2-40B4-BE49-F238E27FC236}">
                    <a16:creationId xmlns="" xmlns:a16="http://schemas.microsoft.com/office/drawing/2014/main" id="{EFD4C1DB-9EA3-534D-A9B6-5174C1F959C4}"/>
                  </a:ext>
                </a:extLst>
              </p:cNvPr>
              <p:cNvSpPr/>
              <p:nvPr/>
            </p:nvSpPr>
            <p:spPr>
              <a:xfrm>
                <a:off x="85292" y="607581"/>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val 143">
                <a:extLst>
                  <a:ext uri="{FF2B5EF4-FFF2-40B4-BE49-F238E27FC236}">
                    <a16:creationId xmlns="" xmlns:a16="http://schemas.microsoft.com/office/drawing/2014/main" id="{70190643-E811-5D4A-8C49-05F2DFB231BA}"/>
                  </a:ext>
                </a:extLst>
              </p:cNvPr>
              <p:cNvSpPr/>
              <p:nvPr/>
            </p:nvSpPr>
            <p:spPr>
              <a:xfrm>
                <a:off x="85292" y="790144"/>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a:extLst>
                  <a:ext uri="{FF2B5EF4-FFF2-40B4-BE49-F238E27FC236}">
                    <a16:creationId xmlns="" xmlns:a16="http://schemas.microsoft.com/office/drawing/2014/main" id="{3E653044-7A86-9C49-9248-3BA4DAC5435C}"/>
                  </a:ext>
                </a:extLst>
              </p:cNvPr>
              <p:cNvSpPr/>
              <p:nvPr/>
            </p:nvSpPr>
            <p:spPr>
              <a:xfrm>
                <a:off x="85292" y="972707"/>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Oval 145">
                <a:extLst>
                  <a:ext uri="{FF2B5EF4-FFF2-40B4-BE49-F238E27FC236}">
                    <a16:creationId xmlns="" xmlns:a16="http://schemas.microsoft.com/office/drawing/2014/main" id="{D66719B0-34B7-F04A-88C6-4875631FF403}"/>
                  </a:ext>
                </a:extLst>
              </p:cNvPr>
              <p:cNvSpPr/>
              <p:nvPr/>
            </p:nvSpPr>
            <p:spPr>
              <a:xfrm>
                <a:off x="85292" y="1155270"/>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a:extLst>
                  <a:ext uri="{FF2B5EF4-FFF2-40B4-BE49-F238E27FC236}">
                    <a16:creationId xmlns="" xmlns:a16="http://schemas.microsoft.com/office/drawing/2014/main" id="{16854EF1-598E-F842-8CBF-0DB40C7101C2}"/>
                  </a:ext>
                </a:extLst>
              </p:cNvPr>
              <p:cNvSpPr/>
              <p:nvPr/>
            </p:nvSpPr>
            <p:spPr>
              <a:xfrm>
                <a:off x="85292" y="1337833"/>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 xmlns:a16="http://schemas.microsoft.com/office/drawing/2014/main" id="{70C227F3-1124-0F44-B650-5EA6BBCD9112}"/>
                  </a:ext>
                </a:extLst>
              </p:cNvPr>
              <p:cNvSpPr/>
              <p:nvPr/>
            </p:nvSpPr>
            <p:spPr>
              <a:xfrm>
                <a:off x="85292" y="1520396"/>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a:extLst>
                  <a:ext uri="{FF2B5EF4-FFF2-40B4-BE49-F238E27FC236}">
                    <a16:creationId xmlns="" xmlns:a16="http://schemas.microsoft.com/office/drawing/2014/main" id="{0380B99D-97E5-2443-BD81-4E8B1F9677D1}"/>
                  </a:ext>
                </a:extLst>
              </p:cNvPr>
              <p:cNvSpPr/>
              <p:nvPr/>
            </p:nvSpPr>
            <p:spPr>
              <a:xfrm>
                <a:off x="85292" y="1702955"/>
                <a:ext cx="86591" cy="8659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62" name="Rectangle 61">
            <a:extLst>
              <a:ext uri="{FF2B5EF4-FFF2-40B4-BE49-F238E27FC236}">
                <a16:creationId xmlns="" xmlns:a16="http://schemas.microsoft.com/office/drawing/2014/main" id="{D559B658-F1DD-4235-A315-5FA31630973F}"/>
              </a:ext>
            </a:extLst>
          </p:cNvPr>
          <p:cNvSpPr/>
          <p:nvPr/>
        </p:nvSpPr>
        <p:spPr>
          <a:xfrm>
            <a:off x="714033" y="185991"/>
            <a:ext cx="4325910" cy="1047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 xmlns:a16="http://schemas.microsoft.com/office/drawing/2014/main" id="{741F1DEF-32DD-40D0-B63D-396863A5080A}"/>
              </a:ext>
            </a:extLst>
          </p:cNvPr>
          <p:cNvSpPr/>
          <p:nvPr/>
        </p:nvSpPr>
        <p:spPr>
          <a:xfrm>
            <a:off x="308918" y="456297"/>
            <a:ext cx="4422107" cy="422243"/>
          </a:xfrm>
          <a:prstGeom prst="rect">
            <a:avLst/>
          </a:prstGeom>
          <a:pattFill prst="dkDnDiag">
            <a:fgClr>
              <a:schemeClr val="accent6"/>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itle 1"/>
          <p:cNvSpPr txBox="1">
            <a:spLocks/>
          </p:cNvSpPr>
          <p:nvPr/>
        </p:nvSpPr>
        <p:spPr>
          <a:xfrm>
            <a:off x="395167" y="396987"/>
            <a:ext cx="4785615" cy="647452"/>
          </a:xfrm>
          <a:prstGeom prst="rect">
            <a:avLst/>
          </a:prstGeom>
        </p:spPr>
        <p:txBody>
          <a:bodyPr>
            <a:noAutofit/>
          </a:bodyPr>
          <a:lstStyle>
            <a:lvl1pPr algn="l" defTabSz="914400" rtl="0" eaLnBrk="1" latinLnBrk="0" hangingPunct="1">
              <a:lnSpc>
                <a:spcPct val="90000"/>
              </a:lnSpc>
              <a:spcBef>
                <a:spcPct val="0"/>
              </a:spcBef>
              <a:buNone/>
              <a:defRPr sz="4400" b="1" kern="1200">
                <a:solidFill>
                  <a:schemeClr val="bg1"/>
                </a:solidFill>
                <a:latin typeface="Segoe UI" panose="020B0502040204020203" pitchFamily="34" charset="0"/>
                <a:ea typeface="+mj-ea"/>
                <a:cs typeface="Segoe UI" panose="020B0502040204020203" pitchFamily="34" charset="0"/>
              </a:defRPr>
            </a:lvl1pPr>
          </a:lstStyle>
          <a:p>
            <a:pPr lvl="0"/>
            <a:r>
              <a:rPr lang="id-ID" sz="3200" dirty="0" smtClean="0"/>
              <a:t>S</a:t>
            </a:r>
            <a:r>
              <a:rPr lang="en-US" sz="3200" dirty="0" err="1" smtClean="0"/>
              <a:t>aran</a:t>
            </a:r>
            <a:r>
              <a:rPr lang="en-US" sz="3200" dirty="0" smtClean="0"/>
              <a:t> </a:t>
            </a:r>
            <a:endParaRPr lang="en-US" sz="3200" dirty="0"/>
          </a:p>
        </p:txBody>
      </p:sp>
      <p:sp>
        <p:nvSpPr>
          <p:cNvPr id="13321" name="Rectangle 9"/>
          <p:cNvSpPr>
            <a:spLocks noChangeArrowheads="1"/>
          </p:cNvSpPr>
          <p:nvPr/>
        </p:nvSpPr>
        <p:spPr bwMode="auto">
          <a:xfrm>
            <a:off x="0" y="0"/>
            <a:ext cx="12192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Times New Roman" pitchFamily="18" charset="0"/>
                <a:ea typeface="Calibri" pitchFamily="34" charset="0"/>
                <a:cs typeface="Times New Roman" pitchFamily="18" charset="0"/>
              </a:rPr>
              <a:t>Perkembangan teknologi yang semakin pesat, khususnya teknologi informasi, dapat mempermudah perusahaan untuk melakukan aktivitas sebagai sarana pendukung produktivitas. Proses ini mengubah sistem yang semula masih manual menjadi terkomputerisasi salah satunya adalah Sistem Informasi Penjualan Cafe.</a:t>
            </a:r>
            <a:endParaRPr kumimoji="0" lang="en-US" sz="1100" b="0" i="0" u="none" strike="noStrike" cap="none" normalizeH="0" baseline="0" smtClean="0">
              <a:ln>
                <a:noFill/>
              </a:ln>
              <a:solidFill>
                <a:schemeClr val="tx1"/>
              </a:solidFill>
              <a:effectLst/>
              <a:latin typeface="Arial" pitchFamily="34" charset="0"/>
              <a:cs typeface="Arial" pitchFamily="34" charset="0"/>
            </a:endParaRPr>
          </a:p>
          <a:p>
            <a:pPr marL="0" marR="0" lvl="0" indent="450850" algn="just"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Times New Roman" pitchFamily="18" charset="0"/>
                <a:ea typeface="Calibri" pitchFamily="34" charset="0"/>
                <a:cs typeface="Times New Roman" pitchFamily="18" charset="0"/>
              </a:rPr>
              <a:t>Untuk merubah sistem yang semualanya manual menjadi terkomputerisasi disini penulis bertujuan dapat merancang sebuah sistem informasi berbasis web sebagai tugas akhir Mata Kuliah “Pemerograman Berbasi Web”  dengan tujuan dapat menjadi solusi dari pengeloaan data secara manual.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322" name="Rectangle 10"/>
          <p:cNvSpPr>
            <a:spLocks noChangeArrowheads="1"/>
          </p:cNvSpPr>
          <p:nvPr/>
        </p:nvSpPr>
        <p:spPr bwMode="auto">
          <a:xfrm>
            <a:off x="0" y="0"/>
            <a:ext cx="12192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Times New Roman" pitchFamily="18" charset="0"/>
                <a:ea typeface="Calibri" pitchFamily="34" charset="0"/>
                <a:cs typeface="Times New Roman" pitchFamily="18" charset="0"/>
              </a:rPr>
              <a:t>Perkembangan teknologi yang semakin pesat, khususnya teknologi informasi, dapat mempermudah perusahaan untuk melakukan aktivitas sebagai sarana pendukung produktivitas. Proses ini mengubah sistem yang semula masih manual menjadi terkomputerisasi salah satunya adalah Sistem Informasi Penjualan Cafe.</a:t>
            </a:r>
            <a:endParaRPr kumimoji="0" lang="en-US" sz="1100" b="0" i="0" u="none" strike="noStrike" cap="none" normalizeH="0" baseline="0" smtClean="0">
              <a:ln>
                <a:noFill/>
              </a:ln>
              <a:solidFill>
                <a:schemeClr val="tx1"/>
              </a:solidFill>
              <a:effectLst/>
              <a:latin typeface="Arial" pitchFamily="34" charset="0"/>
              <a:cs typeface="Arial" pitchFamily="34" charset="0"/>
            </a:endParaRPr>
          </a:p>
          <a:p>
            <a:pPr marL="0" marR="0" lvl="0" indent="450850" algn="just"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Times New Roman" pitchFamily="18" charset="0"/>
                <a:ea typeface="Calibri" pitchFamily="34" charset="0"/>
                <a:cs typeface="Times New Roman" pitchFamily="18" charset="0"/>
              </a:rPr>
              <a:t>Untuk merubah sistem yang semualanya manual menjadi terkomputerisasi disini penulis bertujuan dapat merancang sebuah sistem informasi berbasis web sebagai tugas akhir Mata Kuliah “Pemerograman Berbasi Web”  dengan tujuan dapat menjadi solusi dari pengeloaan data secara manual.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73" name="Rectangle 72"/>
          <p:cNvSpPr/>
          <p:nvPr/>
        </p:nvSpPr>
        <p:spPr>
          <a:xfrm>
            <a:off x="347662" y="1262737"/>
            <a:ext cx="11153775" cy="2246769"/>
          </a:xfrm>
          <a:prstGeom prst="rect">
            <a:avLst/>
          </a:prstGeom>
        </p:spPr>
        <p:txBody>
          <a:bodyPr wrap="square">
            <a:spAutoFit/>
          </a:bodyPr>
          <a:lstStyle/>
          <a:p>
            <a:pPr marL="514350" lvl="0" indent="-514350" algn="just">
              <a:buFont typeface="+mj-lt"/>
              <a:buAutoNum type="arabicPeriod"/>
            </a:pPr>
            <a:r>
              <a:rPr lang="en-US" sz="2800" dirty="0" err="1" smtClean="0">
                <a:solidFill>
                  <a:schemeClr val="bg1"/>
                </a:solidFill>
                <a:latin typeface="Segoe UI Historic" pitchFamily="34" charset="0"/>
                <a:ea typeface="Segoe UI Historic" pitchFamily="34" charset="0"/>
                <a:cs typeface="Segoe UI Historic" pitchFamily="34" charset="0"/>
              </a:rPr>
              <a:t>Perlu</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ilakuk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embaruan</a:t>
            </a:r>
            <a:r>
              <a:rPr lang="en-US" sz="2800" dirty="0" smtClean="0">
                <a:solidFill>
                  <a:schemeClr val="bg1"/>
                </a:solidFill>
                <a:latin typeface="Segoe UI Historic" pitchFamily="34" charset="0"/>
                <a:ea typeface="Segoe UI Historic" pitchFamily="34" charset="0"/>
                <a:cs typeface="Segoe UI Historic" pitchFamily="34" charset="0"/>
              </a:rPr>
              <a:t> data-data menu </a:t>
            </a:r>
            <a:r>
              <a:rPr lang="en-US" sz="2800" dirty="0" err="1" smtClean="0">
                <a:solidFill>
                  <a:schemeClr val="bg1"/>
                </a:solidFill>
                <a:latin typeface="Segoe UI Historic" pitchFamily="34" charset="0"/>
                <a:ea typeface="Segoe UI Historic" pitchFamily="34" charset="0"/>
                <a:cs typeface="Segoe UI Historic" pitchFamily="34" charset="0"/>
              </a:rPr>
              <a:t>makan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inum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alam</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istem</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ecara</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rutin</a:t>
            </a:r>
            <a:r>
              <a:rPr lang="en-US" sz="2800" dirty="0" smtClean="0">
                <a:solidFill>
                  <a:schemeClr val="bg1"/>
                </a:solidFill>
                <a:latin typeface="Segoe UI Historic" pitchFamily="34" charset="0"/>
                <a:ea typeface="Segoe UI Historic" pitchFamily="34" charset="0"/>
                <a:cs typeface="Segoe UI Historic" pitchFamily="34" charset="0"/>
              </a:rPr>
              <a:t>.</a:t>
            </a:r>
          </a:p>
          <a:p>
            <a:pPr marL="514350" lvl="0" indent="-514350" algn="just">
              <a:buFont typeface="+mj-lt"/>
              <a:buAutoNum type="arabicPeriod"/>
            </a:pPr>
            <a:r>
              <a:rPr lang="en-US" sz="2800" dirty="0" err="1" smtClean="0">
                <a:solidFill>
                  <a:schemeClr val="bg1"/>
                </a:solidFill>
                <a:latin typeface="Segoe UI Historic" pitchFamily="34" charset="0"/>
                <a:ea typeface="Segoe UI Historic" pitchFamily="34" charset="0"/>
                <a:cs typeface="Segoe UI Historic" pitchFamily="34" charset="0"/>
              </a:rPr>
              <a:t>Perlu</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ilakuk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pengembangan</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istem,pada</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reservasi</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ja</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jika</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eja</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idak</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ersedia</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maka</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secara</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otomatis</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tidak</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apat</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dipilih</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untuk</a:t>
            </a:r>
            <a:r>
              <a:rPr lang="en-US" sz="2800" dirty="0" smtClean="0">
                <a:solidFill>
                  <a:schemeClr val="bg1"/>
                </a:solidFill>
                <a:latin typeface="Segoe UI Historic" pitchFamily="34" charset="0"/>
                <a:ea typeface="Segoe UI Historic" pitchFamily="34" charset="0"/>
                <a:cs typeface="Segoe UI Historic" pitchFamily="34" charset="0"/>
              </a:rPr>
              <a:t> </a:t>
            </a:r>
            <a:r>
              <a:rPr lang="en-US" sz="2800" dirty="0" err="1" smtClean="0">
                <a:solidFill>
                  <a:schemeClr val="bg1"/>
                </a:solidFill>
                <a:latin typeface="Segoe UI Historic" pitchFamily="34" charset="0"/>
                <a:ea typeface="Segoe UI Historic" pitchFamily="34" charset="0"/>
                <a:cs typeface="Segoe UI Historic" pitchFamily="34" charset="0"/>
              </a:rPr>
              <a:t>reservasi</a:t>
            </a:r>
            <a:r>
              <a:rPr lang="en-US" sz="2800" dirty="0" smtClean="0">
                <a:solidFill>
                  <a:schemeClr val="bg1"/>
                </a:solidFill>
                <a:latin typeface="Segoe UI Historic" pitchFamily="34" charset="0"/>
                <a:ea typeface="Segoe UI Historic" pitchFamily="34" charset="0"/>
                <a:cs typeface="Segoe UI Historic" pitchFamily="34" charset="0"/>
              </a:rPr>
              <a:t>.</a:t>
            </a:r>
            <a:endParaRPr lang="en-US" sz="2800" dirty="0">
              <a:solidFill>
                <a:schemeClr val="bg1"/>
              </a:solidFill>
              <a:latin typeface="Segoe UI Historic" pitchFamily="34" charset="0"/>
              <a:ea typeface="Segoe UI Historic" pitchFamily="34" charset="0"/>
              <a:cs typeface="Segoe UI Historic" pitchFamily="34" charset="0"/>
            </a:endParaRPr>
          </a:p>
        </p:txBody>
      </p:sp>
    </p:spTree>
    <p:extLst>
      <p:ext uri="{BB962C8B-B14F-4D97-AF65-F5344CB8AC3E}">
        <p14:creationId xmlns="" xmlns:p14="http://schemas.microsoft.com/office/powerpoint/2010/main" val="20959420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500ps.UB5gx63fzRFdD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9SOX6z6TmiJrtpEZPUn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v8Ke_bBdwbDcySV3NOK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QoGnvVz38fyDwzX9uom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cOC6JjGHxclOcC9mpfu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H_96fGnV7maXJXeezgN0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clMmChe9DXzjBbC6Ns.n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rcfXOqYtZIwjn.KCVDk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BBOC9BprqMdNtcYEXKF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IFArVL.DeOOXVc5P4RA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qK5ABAoYQ7P94TI78Qohw"/>
</p:tagLst>
</file>

<file path=ppt/theme/theme1.xml><?xml version="1.0" encoding="utf-8"?>
<a:theme xmlns:a="http://schemas.openxmlformats.org/drawingml/2006/main" name="Office Theme">
  <a:themeElements>
    <a:clrScheme name="Custom 33">
      <a:dk1>
        <a:srgbClr val="000000"/>
      </a:dk1>
      <a:lt1>
        <a:srgbClr val="FFFFFF"/>
      </a:lt1>
      <a:dk2>
        <a:srgbClr val="44546A"/>
      </a:dk2>
      <a:lt2>
        <a:srgbClr val="E7E6E6"/>
      </a:lt2>
      <a:accent1>
        <a:srgbClr val="0C0D0C"/>
      </a:accent1>
      <a:accent2>
        <a:srgbClr val="252625"/>
      </a:accent2>
      <a:accent3>
        <a:srgbClr val="3F403F"/>
      </a:accent3>
      <a:accent4>
        <a:srgbClr val="727372"/>
      </a:accent4>
      <a:accent5>
        <a:srgbClr val="D8D9D8"/>
      </a:accent5>
      <a:accent6>
        <a:srgbClr val="A38A60"/>
      </a:accent6>
      <a:hlink>
        <a:srgbClr val="0563C1"/>
      </a:hlink>
      <a:folHlink>
        <a:srgbClr val="954F72"/>
      </a:folHlink>
    </a:clrScheme>
    <a:fontScheme name="Custom 20">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5</TotalTime>
  <Words>503</Words>
  <Application>Microsoft Office PowerPoint</Application>
  <PresentationFormat>Custom</PresentationFormat>
  <Paragraphs>49</Paragraphs>
  <Slides>10</Slides>
  <Notes>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Office Theme</vt:lpstr>
      <vt:lpstr>think-cell Slide</vt:lpstr>
      <vt:lpstr>Slide 1</vt:lpstr>
      <vt:lpstr>Slide 2</vt:lpstr>
      <vt:lpstr>Slide 3</vt:lpstr>
      <vt:lpstr>Slide 4</vt:lpstr>
      <vt:lpstr>Slide 5</vt:lpstr>
      <vt:lpstr>Slide 6</vt:lpstr>
      <vt:lpstr>Slide 7</vt:lpstr>
      <vt:lpstr>Slide 8</vt:lpstr>
      <vt:lpstr>Slide 9</vt:lpstr>
      <vt:lpstr>Slide 1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2</dc:creator>
  <cp:lastModifiedBy>Windows User</cp:lastModifiedBy>
  <cp:revision>17</cp:revision>
  <dcterms:created xsi:type="dcterms:W3CDTF">2020-12-30T02:56:23Z</dcterms:created>
  <dcterms:modified xsi:type="dcterms:W3CDTF">2022-07-22T02:54:18Z</dcterms:modified>
</cp:coreProperties>
</file>